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5.xml" ContentType="application/vnd.openxmlformats-officedocument.theme+xml"/>
  <Override PartName="/ppt/tags/tag16.xml" ContentType="application/vnd.openxmlformats-officedocument.presentationml.tags+xml"/>
  <Override PartName="/ppt/theme/theme6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023" r:id="rId8"/>
    <p:sldMasterId id="2147484044" r:id="rId9"/>
    <p:sldMasterId id="2147484066" r:id="rId10"/>
    <p:sldMasterId id="2147484297" r:id="rId11"/>
    <p:sldMasterId id="2147484418" r:id="rId12"/>
  </p:sldMasterIdLst>
  <p:notesMasterIdLst>
    <p:notesMasterId r:id="rId30"/>
  </p:notesMasterIdLst>
  <p:sldIdLst>
    <p:sldId id="2145708638" r:id="rId13"/>
    <p:sldId id="2147481463" r:id="rId14"/>
    <p:sldId id="2147478013" r:id="rId15"/>
    <p:sldId id="2147481472" r:id="rId16"/>
    <p:sldId id="2147481458" r:id="rId17"/>
    <p:sldId id="2147481460" r:id="rId18"/>
    <p:sldId id="2147481461" r:id="rId19"/>
    <p:sldId id="2147481462" r:id="rId20"/>
    <p:sldId id="2147481464" r:id="rId21"/>
    <p:sldId id="2147481468" r:id="rId22"/>
    <p:sldId id="2147481469" r:id="rId23"/>
    <p:sldId id="2147481470" r:id="rId24"/>
    <p:sldId id="2147481471" r:id="rId25"/>
    <p:sldId id="2147481467" r:id="rId26"/>
    <p:sldId id="2147481466" r:id="rId27"/>
    <p:sldId id="2147481465" r:id="rId28"/>
    <p:sldId id="2146849320" r:id="rId29"/>
  </p:sldIdLst>
  <p:sldSz cx="12192000" cy="6858000"/>
  <p:notesSz cx="6669088" cy="9753600"/>
  <p:custDataLst>
    <p:tags r:id="rId31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0C9C89D-4AF8-98DC-C540-2025C5A02AF6}" name="Erik Sævareid | Lnett" initials="ES|L" userId="S::erik.savareid@l-nett.no::b59524ad-4cea-4bef-9b09-93e31ad57037" providerId="AD"/>
  <p188:author id="{6099C1EC-4B45-FC64-C38E-51C53EDCDB37}" name="Beate Stangeland | Lnett" initials="BS|L" userId="S::beate.stangeland@l-nett.no::52d10630-9f12-4f9d-b5f7-7225cdca51c5" providerId="AD"/>
  <p188:author id="{FE55C7EE-BA08-614F-05EF-29BAF9941B60}" name="Trond Winther | Lnett" initials="TW|L" userId="S::trond.winther@l-nett.no::5f667486-3779-43c1-b610-902c7aaa42e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åvard Tamburstuen | Lnett" initials="HT|L" lastIdx="1" clrIdx="0">
    <p:extLst>
      <p:ext uri="{19B8F6BF-5375-455C-9EA6-DF929625EA0E}">
        <p15:presenceInfo xmlns:p15="http://schemas.microsoft.com/office/powerpoint/2012/main" userId="S::havard.tamburstuen@l-nett.no::9975637b-0d8a-42e6-bbec-63a31ea4d9d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039B97"/>
    <a:srgbClr val="FFFFFF"/>
    <a:srgbClr val="FF00FF"/>
    <a:srgbClr val="000000"/>
    <a:srgbClr val="0D0D0D"/>
    <a:srgbClr val="D0D0D0"/>
    <a:srgbClr val="B8E08C"/>
    <a:srgbClr val="EDF7E1"/>
    <a:srgbClr val="03030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2C2D679-82F2-40A9-9881-D360A3EA4FAC}" v="180" dt="2024-09-24T17:02:29.47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ys stil 2 – uthevin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8518" autoAdjust="0"/>
    <p:restoredTop sz="64865" autoAdjust="0"/>
  </p:normalViewPr>
  <p:slideViewPr>
    <p:cSldViewPr snapToGrid="0">
      <p:cViewPr varScale="1">
        <p:scale>
          <a:sx n="73" d="100"/>
          <a:sy n="73" d="100"/>
        </p:scale>
        <p:origin x="1236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microsoft.com/office/2018/10/relationships/authors" Target="authors.xml"/><Relationship Id="rId21" Type="http://schemas.openxmlformats.org/officeDocument/2006/relationships/slide" Target="slides/slide9.xml"/><Relationship Id="rId34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5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4.xml"/><Relationship Id="rId24" Type="http://schemas.openxmlformats.org/officeDocument/2006/relationships/slide" Target="slides/slide12.xml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3.xml"/><Relationship Id="rId19" Type="http://schemas.openxmlformats.org/officeDocument/2006/relationships/slide" Target="slides/slide7.xml"/><Relationship Id="rId31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2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1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rond Winther | Lnett" userId="5f667486-3779-43c1-b610-902c7aaa42e0" providerId="ADAL" clId="{A2C2D679-82F2-40A9-9881-D360A3EA4FAC}"/>
    <pc:docChg chg="undo custSel addSld delSld modSld sldOrd delMainMaster modMainMaster replTag">
      <pc:chgData name="Trond Winther | Lnett" userId="5f667486-3779-43c1-b610-902c7aaa42e0" providerId="ADAL" clId="{A2C2D679-82F2-40A9-9881-D360A3EA4FAC}" dt="2024-09-24T17:10:03.746" v="14147" actId="20577"/>
      <pc:docMkLst>
        <pc:docMk/>
      </pc:docMkLst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153986206" sldId="283"/>
        </pc:sldMkLst>
      </pc:sldChg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3746791282" sldId="288"/>
        </pc:sldMkLst>
      </pc:sldChg>
      <pc:sldChg chg="del">
        <pc:chgData name="Trond Winther | Lnett" userId="5f667486-3779-43c1-b610-902c7aaa42e0" providerId="ADAL" clId="{A2C2D679-82F2-40A9-9881-D360A3EA4FAC}" dt="2024-09-14T09:27:10.623" v="3012" actId="47"/>
        <pc:sldMkLst>
          <pc:docMk/>
          <pc:sldMk cId="4153556380" sldId="294"/>
        </pc:sldMkLst>
      </pc:sldChg>
      <pc:sldChg chg="del">
        <pc:chgData name="Trond Winther | Lnett" userId="5f667486-3779-43c1-b610-902c7aaa42e0" providerId="ADAL" clId="{A2C2D679-82F2-40A9-9881-D360A3EA4FAC}" dt="2024-09-14T09:27:10.623" v="3012" actId="47"/>
        <pc:sldMkLst>
          <pc:docMk/>
          <pc:sldMk cId="1137768086" sldId="295"/>
        </pc:sldMkLst>
      </pc:sldChg>
      <pc:sldChg chg="del">
        <pc:chgData name="Trond Winther | Lnett" userId="5f667486-3779-43c1-b610-902c7aaa42e0" providerId="ADAL" clId="{A2C2D679-82F2-40A9-9881-D360A3EA4FAC}" dt="2024-09-14T09:27:10.623" v="3012" actId="47"/>
        <pc:sldMkLst>
          <pc:docMk/>
          <pc:sldMk cId="3792314510" sldId="348"/>
        </pc:sldMkLst>
      </pc:sldChg>
      <pc:sldChg chg="del">
        <pc:chgData name="Trond Winther | Lnett" userId="5f667486-3779-43c1-b610-902c7aaa42e0" providerId="ADAL" clId="{A2C2D679-82F2-40A9-9881-D360A3EA4FAC}" dt="2024-09-14T09:27:10.623" v="3012" actId="47"/>
        <pc:sldMkLst>
          <pc:docMk/>
          <pc:sldMk cId="2167263368" sldId="364"/>
        </pc:sldMkLst>
      </pc:sldChg>
      <pc:sldChg chg="del">
        <pc:chgData name="Trond Winther | Lnett" userId="5f667486-3779-43c1-b610-902c7aaa42e0" providerId="ADAL" clId="{A2C2D679-82F2-40A9-9881-D360A3EA4FAC}" dt="2024-09-14T09:27:10.623" v="3012" actId="47"/>
        <pc:sldMkLst>
          <pc:docMk/>
          <pc:sldMk cId="1663885707" sldId="365"/>
        </pc:sldMkLst>
      </pc:sldChg>
      <pc:sldChg chg="del">
        <pc:chgData name="Trond Winther | Lnett" userId="5f667486-3779-43c1-b610-902c7aaa42e0" providerId="ADAL" clId="{A2C2D679-82F2-40A9-9881-D360A3EA4FAC}" dt="2024-09-14T09:27:10.623" v="3012" actId="47"/>
        <pc:sldMkLst>
          <pc:docMk/>
          <pc:sldMk cId="254766415" sldId="366"/>
        </pc:sldMkLst>
      </pc:sldChg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220702693" sldId="512"/>
        </pc:sldMkLst>
      </pc:sldChg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0" sldId="543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557649896" sldId="1919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1616906110" sldId="2145708624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1233679992" sldId="2145708626"/>
        </pc:sldMkLst>
      </pc:sldChg>
      <pc:sldChg chg="modSp mod modTransition modNotesTx">
        <pc:chgData name="Trond Winther | Lnett" userId="5f667486-3779-43c1-b610-902c7aaa42e0" providerId="ADAL" clId="{A2C2D679-82F2-40A9-9881-D360A3EA4FAC}" dt="2024-09-14T12:23:23.335" v="3976" actId="20577"/>
        <pc:sldMkLst>
          <pc:docMk/>
          <pc:sldMk cId="4140443048" sldId="2145708638"/>
        </pc:sldMkLst>
        <pc:spChg chg="mod">
          <ac:chgData name="Trond Winther | Lnett" userId="5f667486-3779-43c1-b610-902c7aaa42e0" providerId="ADAL" clId="{A2C2D679-82F2-40A9-9881-D360A3EA4FAC}" dt="2024-09-14T09:03:12.329" v="100" actId="404"/>
          <ac:spMkLst>
            <pc:docMk/>
            <pc:sldMk cId="4140443048" sldId="2145708638"/>
            <ac:spMk id="2" creationId="{C2567D47-C4F6-4E16-A15F-EDFD186DFE48}"/>
          </ac:spMkLst>
        </pc:spChg>
        <pc:spChg chg="mod">
          <ac:chgData name="Trond Winther | Lnett" userId="5f667486-3779-43c1-b610-902c7aaa42e0" providerId="ADAL" clId="{A2C2D679-82F2-40A9-9881-D360A3EA4FAC}" dt="2024-09-14T09:03:22.662" v="104" actId="404"/>
          <ac:spMkLst>
            <pc:docMk/>
            <pc:sldMk cId="4140443048" sldId="2145708638"/>
            <ac:spMk id="3" creationId="{78AF25AB-9C1E-0CA7-346E-2283CE84755E}"/>
          </ac:spMkLst>
        </pc:spChg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2062834928" sldId="2145708689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2945221930" sldId="2145708694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4257139520" sldId="2145708695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2949269579" sldId="2145708696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3406114469" sldId="2145708699"/>
        </pc:sldMkLst>
      </pc:sldChg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331473021" sldId="2146847844"/>
        </pc:sldMkLst>
      </pc:sldChg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376017090" sldId="2146849316"/>
        </pc:sldMkLst>
      </pc:sldChg>
      <pc:sldChg chg="modTransition">
        <pc:chgData name="Trond Winther | Lnett" userId="5f667486-3779-43c1-b610-902c7aaa42e0" providerId="ADAL" clId="{A2C2D679-82F2-40A9-9881-D360A3EA4FAC}" dt="2024-09-14T09:49:25.586" v="3730"/>
        <pc:sldMkLst>
          <pc:docMk/>
          <pc:sldMk cId="3923402658" sldId="2146849320"/>
        </pc:sldMkLst>
      </pc:sldChg>
      <pc:sldChg chg="addSp delSp modSp del mod ord modNotesTx">
        <pc:chgData name="Trond Winther | Lnett" userId="5f667486-3779-43c1-b610-902c7aaa42e0" providerId="ADAL" clId="{A2C2D679-82F2-40A9-9881-D360A3EA4FAC}" dt="2024-09-14T09:30:35.652" v="3024" actId="47"/>
        <pc:sldMkLst>
          <pc:docMk/>
          <pc:sldMk cId="80158186" sldId="2146849337"/>
        </pc:sldMkLst>
        <pc:spChg chg="add del mod">
          <ac:chgData name="Trond Winther | Lnett" userId="5f667486-3779-43c1-b610-902c7aaa42e0" providerId="ADAL" clId="{A2C2D679-82F2-40A9-9881-D360A3EA4FAC}" dt="2024-09-14T09:30:24.230" v="3022" actId="478"/>
          <ac:spMkLst>
            <pc:docMk/>
            <pc:sldMk cId="80158186" sldId="2146849337"/>
            <ac:spMk id="2" creationId="{FC106E08-4C22-20FA-9F98-DE8AABC5BDC9}"/>
          </ac:spMkLst>
        </pc:spChg>
        <pc:spChg chg="add del mod">
          <ac:chgData name="Trond Winther | Lnett" userId="5f667486-3779-43c1-b610-902c7aaa42e0" providerId="ADAL" clId="{A2C2D679-82F2-40A9-9881-D360A3EA4FAC}" dt="2024-09-14T09:30:27.734" v="3023" actId="478"/>
          <ac:spMkLst>
            <pc:docMk/>
            <pc:sldMk cId="80158186" sldId="2146849337"/>
            <ac:spMk id="3" creationId="{75FA0266-2640-78D6-1374-A6DA25538535}"/>
          </ac:spMkLst>
        </pc:spChg>
        <pc:spChg chg="del">
          <ac:chgData name="Trond Winther | Lnett" userId="5f667486-3779-43c1-b610-902c7aaa42e0" providerId="ADAL" clId="{A2C2D679-82F2-40A9-9881-D360A3EA4FAC}" dt="2024-09-14T09:29:33.121" v="3014" actId="478"/>
          <ac:spMkLst>
            <pc:docMk/>
            <pc:sldMk cId="80158186" sldId="2146849337"/>
            <ac:spMk id="8" creationId="{22A1E78A-5359-4B55-83FC-08853884FBB5}"/>
          </ac:spMkLst>
        </pc:spChg>
        <pc:picChg chg="del">
          <ac:chgData name="Trond Winther | Lnett" userId="5f667486-3779-43c1-b610-902c7aaa42e0" providerId="ADAL" clId="{A2C2D679-82F2-40A9-9881-D360A3EA4FAC}" dt="2024-09-14T09:29:40.381" v="3016" actId="478"/>
          <ac:picMkLst>
            <pc:docMk/>
            <pc:sldMk cId="80158186" sldId="2146849337"/>
            <ac:picMk id="65538" creationId="{DE183450-23E5-4F92-B343-FCEF956E90C1}"/>
          </ac:picMkLst>
        </pc:picChg>
      </pc:sldChg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2811168664" sldId="2146849339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2098434848" sldId="2146849346"/>
        </pc:sldMkLst>
      </pc:sldChg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2547815561" sldId="2147478011"/>
        </pc:sldMkLst>
      </pc:sldChg>
      <pc:sldChg chg="addSp modSp mod modTransition modNotesTx">
        <pc:chgData name="Trond Winther | Lnett" userId="5f667486-3779-43c1-b610-902c7aaa42e0" providerId="ADAL" clId="{A2C2D679-82F2-40A9-9881-D360A3EA4FAC}" dt="2024-09-24T16:55:19.870" v="13307" actId="1076"/>
        <pc:sldMkLst>
          <pc:docMk/>
          <pc:sldMk cId="73327939" sldId="2147478013"/>
        </pc:sldMkLst>
        <pc:spChg chg="mod">
          <ac:chgData name="Trond Winther | Lnett" userId="5f667486-3779-43c1-b610-902c7aaa42e0" providerId="ADAL" clId="{A2C2D679-82F2-40A9-9881-D360A3EA4FAC}" dt="2024-09-24T16:55:19.870" v="13307" actId="1076"/>
          <ac:spMkLst>
            <pc:docMk/>
            <pc:sldMk cId="73327939" sldId="2147478013"/>
            <ac:spMk id="2" creationId="{39649709-A807-2C90-2F85-E4769DDB2E6B}"/>
          </ac:spMkLst>
        </pc:spChg>
        <pc:spChg chg="mod">
          <ac:chgData name="Trond Winther | Lnett" userId="5f667486-3779-43c1-b610-902c7aaa42e0" providerId="ADAL" clId="{A2C2D679-82F2-40A9-9881-D360A3EA4FAC}" dt="2024-09-15T08:45:14.666" v="12547" actId="207"/>
          <ac:spMkLst>
            <pc:docMk/>
            <pc:sldMk cId="73327939" sldId="2147478013"/>
            <ac:spMk id="7" creationId="{A5863B4D-7751-0165-A0C5-B72C6DC1B778}"/>
          </ac:spMkLst>
        </pc:spChg>
        <pc:spChg chg="mod">
          <ac:chgData name="Trond Winther | Lnett" userId="5f667486-3779-43c1-b610-902c7aaa42e0" providerId="ADAL" clId="{A2C2D679-82F2-40A9-9881-D360A3EA4FAC}" dt="2024-09-15T08:44:34.739" v="12544"/>
          <ac:spMkLst>
            <pc:docMk/>
            <pc:sldMk cId="73327939" sldId="2147478013"/>
            <ac:spMk id="10" creationId="{B8B3B8BA-603F-EDF6-129D-A31E230D69BF}"/>
          </ac:spMkLst>
        </pc:spChg>
        <pc:spChg chg="mod">
          <ac:chgData name="Trond Winther | Lnett" userId="5f667486-3779-43c1-b610-902c7aaa42e0" providerId="ADAL" clId="{A2C2D679-82F2-40A9-9881-D360A3EA4FAC}" dt="2024-09-15T08:44:34.739" v="12544"/>
          <ac:spMkLst>
            <pc:docMk/>
            <pc:sldMk cId="73327939" sldId="2147478013"/>
            <ac:spMk id="11" creationId="{67BA92EE-7CCD-7560-DA5E-CFF8089C5997}"/>
          </ac:spMkLst>
        </pc:spChg>
        <pc:spChg chg="mod">
          <ac:chgData name="Trond Winther | Lnett" userId="5f667486-3779-43c1-b610-902c7aaa42e0" providerId="ADAL" clId="{A2C2D679-82F2-40A9-9881-D360A3EA4FAC}" dt="2024-09-15T08:45:10.762" v="12546" actId="207"/>
          <ac:spMkLst>
            <pc:docMk/>
            <pc:sldMk cId="73327939" sldId="2147478013"/>
            <ac:spMk id="12" creationId="{BB106B1C-E02F-497E-46B3-AB792F264853}"/>
          </ac:spMkLst>
        </pc:spChg>
        <pc:grpChg chg="add mod">
          <ac:chgData name="Trond Winther | Lnett" userId="5f667486-3779-43c1-b610-902c7aaa42e0" providerId="ADAL" clId="{A2C2D679-82F2-40A9-9881-D360A3EA4FAC}" dt="2024-09-24T16:55:00.338" v="13306" actId="1076"/>
          <ac:grpSpMkLst>
            <pc:docMk/>
            <pc:sldMk cId="73327939" sldId="2147478013"/>
            <ac:grpSpMk id="4" creationId="{C6B1E56B-2AFC-AD42-742E-9247E4CC4268}"/>
          </ac:grpSpMkLst>
        </pc:grpChg>
        <pc:grpChg chg="add mod">
          <ac:chgData name="Trond Winther | Lnett" userId="5f667486-3779-43c1-b610-902c7aaa42e0" providerId="ADAL" clId="{A2C2D679-82F2-40A9-9881-D360A3EA4FAC}" dt="2024-09-24T16:55:00.338" v="13306" actId="1076"/>
          <ac:grpSpMkLst>
            <pc:docMk/>
            <pc:sldMk cId="73327939" sldId="2147478013"/>
            <ac:grpSpMk id="9" creationId="{08D28A40-94AB-B6C6-8354-99E799A31F40}"/>
          </ac:grpSpMkLst>
        </pc:grpChg>
        <pc:picChg chg="add mod modCrop">
          <ac:chgData name="Trond Winther | Lnett" userId="5f667486-3779-43c1-b610-902c7aaa42e0" providerId="ADAL" clId="{A2C2D679-82F2-40A9-9881-D360A3EA4FAC}" dt="2024-09-15T08:48:49.046" v="12682" actId="732"/>
          <ac:picMkLst>
            <pc:docMk/>
            <pc:sldMk cId="73327939" sldId="2147478013"/>
            <ac:picMk id="3" creationId="{B5882736-F11B-1FE3-CAD3-ED39D17B3B37}"/>
          </ac:picMkLst>
        </pc:picChg>
        <pc:picChg chg="mod">
          <ac:chgData name="Trond Winther | Lnett" userId="5f667486-3779-43c1-b610-902c7aaa42e0" providerId="ADAL" clId="{A2C2D679-82F2-40A9-9881-D360A3EA4FAC}" dt="2024-09-15T08:44:34.739" v="12544"/>
          <ac:picMkLst>
            <pc:docMk/>
            <pc:sldMk cId="73327939" sldId="2147478013"/>
            <ac:picMk id="5" creationId="{BAE53FD0-0D66-998A-9395-CF8416178540}"/>
          </ac:picMkLst>
        </pc:picChg>
        <pc:picChg chg="mod">
          <ac:chgData name="Trond Winther | Lnett" userId="5f667486-3779-43c1-b610-902c7aaa42e0" providerId="ADAL" clId="{A2C2D679-82F2-40A9-9881-D360A3EA4FAC}" dt="2024-09-15T08:44:34.739" v="12544"/>
          <ac:picMkLst>
            <pc:docMk/>
            <pc:sldMk cId="73327939" sldId="2147478013"/>
            <ac:picMk id="6" creationId="{4D6DC58E-A165-71AA-69FA-2339184473B1}"/>
          </ac:picMkLst>
        </pc:picChg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1386791006" sldId="2147478017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1553288928" sldId="2147478019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4240443293" sldId="2147478021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2479630328" sldId="2147478022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1714644206" sldId="2147478025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2048063738" sldId="2147481414"/>
        </pc:sldMkLst>
      </pc:sldChg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2460876507" sldId="2147481415"/>
        </pc:sldMkLst>
      </pc:sldChg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196575700" sldId="2147481420"/>
        </pc:sldMkLst>
      </pc:sldChg>
      <pc:sldChg chg="del">
        <pc:chgData name="Trond Winther | Lnett" userId="5f667486-3779-43c1-b610-902c7aaa42e0" providerId="ADAL" clId="{A2C2D679-82F2-40A9-9881-D360A3EA4FAC}" dt="2024-09-14T09:27:10.623" v="3012" actId="47"/>
        <pc:sldMkLst>
          <pc:docMk/>
          <pc:sldMk cId="1071780840" sldId="2147481447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1868428678" sldId="2147481450"/>
        </pc:sldMkLst>
      </pc:sldChg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527620300" sldId="2147481451"/>
        </pc:sldMkLst>
      </pc:sldChg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2168912186" sldId="2147481452"/>
        </pc:sldMkLst>
      </pc:sldChg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272045126" sldId="2147481453"/>
        </pc:sldMkLst>
      </pc:sldChg>
      <pc:sldChg chg="del">
        <pc:chgData name="Trond Winther | Lnett" userId="5f667486-3779-43c1-b610-902c7aaa42e0" providerId="ADAL" clId="{A2C2D679-82F2-40A9-9881-D360A3EA4FAC}" dt="2024-09-14T09:26:46.609" v="3010" actId="47"/>
        <pc:sldMkLst>
          <pc:docMk/>
          <pc:sldMk cId="42536118" sldId="2147481454"/>
        </pc:sldMkLst>
      </pc:sldChg>
      <pc:sldChg chg="del">
        <pc:chgData name="Trond Winther | Lnett" userId="5f667486-3779-43c1-b610-902c7aaa42e0" providerId="ADAL" clId="{A2C2D679-82F2-40A9-9881-D360A3EA4FAC}" dt="2024-09-14T09:27:15.403" v="3013" actId="47"/>
        <pc:sldMkLst>
          <pc:docMk/>
          <pc:sldMk cId="2052929703" sldId="2147481455"/>
        </pc:sldMkLst>
      </pc:sldChg>
      <pc:sldChg chg="del">
        <pc:chgData name="Trond Winther | Lnett" userId="5f667486-3779-43c1-b610-902c7aaa42e0" providerId="ADAL" clId="{A2C2D679-82F2-40A9-9881-D360A3EA4FAC}" dt="2024-09-14T09:27:10.623" v="3012" actId="47"/>
        <pc:sldMkLst>
          <pc:docMk/>
          <pc:sldMk cId="3639934585" sldId="2147481456"/>
        </pc:sldMkLst>
      </pc:sldChg>
      <pc:sldChg chg="del">
        <pc:chgData name="Trond Winther | Lnett" userId="5f667486-3779-43c1-b610-902c7aaa42e0" providerId="ADAL" clId="{A2C2D679-82F2-40A9-9881-D360A3EA4FAC}" dt="2024-09-14T09:26:50.866" v="3011" actId="47"/>
        <pc:sldMkLst>
          <pc:docMk/>
          <pc:sldMk cId="576229367" sldId="2147481457"/>
        </pc:sldMkLst>
      </pc:sldChg>
      <pc:sldChg chg="modSp add mod modTransition modNotesTx">
        <pc:chgData name="Trond Winther | Lnett" userId="5f667486-3779-43c1-b610-902c7aaa42e0" providerId="ADAL" clId="{A2C2D679-82F2-40A9-9881-D360A3EA4FAC}" dt="2024-09-24T17:04:51.685" v="13827" actId="20577"/>
        <pc:sldMkLst>
          <pc:docMk/>
          <pc:sldMk cId="3436920416" sldId="2147481458"/>
        </pc:sldMkLst>
        <pc:spChg chg="mod">
          <ac:chgData name="Trond Winther | Lnett" userId="5f667486-3779-43c1-b610-902c7aaa42e0" providerId="ADAL" clId="{A2C2D679-82F2-40A9-9881-D360A3EA4FAC}" dt="2024-09-24T16:55:43.910" v="13308" actId="207"/>
          <ac:spMkLst>
            <pc:docMk/>
            <pc:sldMk cId="3436920416" sldId="2147481458"/>
            <ac:spMk id="2" creationId="{39649709-A807-2C90-2F85-E4769DDB2E6B}"/>
          </ac:spMkLst>
        </pc:spChg>
      </pc:sldChg>
      <pc:sldChg chg="addSp delSp modSp add del mod ord modTransition modNotesTx">
        <pc:chgData name="Trond Winther | Lnett" userId="5f667486-3779-43c1-b610-902c7aaa42e0" providerId="ADAL" clId="{A2C2D679-82F2-40A9-9881-D360A3EA4FAC}" dt="2024-09-14T13:49:21.750" v="10703" actId="47"/>
        <pc:sldMkLst>
          <pc:docMk/>
          <pc:sldMk cId="2225657520" sldId="2147481459"/>
        </pc:sldMkLst>
        <pc:spChg chg="del">
          <ac:chgData name="Trond Winther | Lnett" userId="5f667486-3779-43c1-b610-902c7aaa42e0" providerId="ADAL" clId="{A2C2D679-82F2-40A9-9881-D360A3EA4FAC}" dt="2024-09-14T09:14:24.682" v="1977" actId="478"/>
          <ac:spMkLst>
            <pc:docMk/>
            <pc:sldMk cId="2225657520" sldId="2147481459"/>
            <ac:spMk id="2" creationId="{39649709-A807-2C90-2F85-E4769DDB2E6B}"/>
          </ac:spMkLst>
        </pc:spChg>
        <pc:spChg chg="add del mod">
          <ac:chgData name="Trond Winther | Lnett" userId="5f667486-3779-43c1-b610-902c7aaa42e0" providerId="ADAL" clId="{A2C2D679-82F2-40A9-9881-D360A3EA4FAC}" dt="2024-09-14T09:14:27.148" v="1978" actId="478"/>
          <ac:spMkLst>
            <pc:docMk/>
            <pc:sldMk cId="2225657520" sldId="2147481459"/>
            <ac:spMk id="4" creationId="{81C6AD02-14C3-8B2C-8B7C-67B972980F7E}"/>
          </ac:spMkLst>
        </pc:spChg>
        <pc:spChg chg="mod">
          <ac:chgData name="Trond Winther | Lnett" userId="5f667486-3779-43c1-b610-902c7aaa42e0" providerId="ADAL" clId="{A2C2D679-82F2-40A9-9881-D360A3EA4FAC}" dt="2024-09-14T09:18:44.713" v="2022" actId="1076"/>
          <ac:spMkLst>
            <pc:docMk/>
            <pc:sldMk cId="2225657520" sldId="2147481459"/>
            <ac:spMk id="8" creationId="{6E649931-2C2C-B3F1-8346-B0A7AA043EF1}"/>
          </ac:spMkLst>
        </pc:spChg>
        <pc:grpChg chg="add mod">
          <ac:chgData name="Trond Winther | Lnett" userId="5f667486-3779-43c1-b610-902c7aaa42e0" providerId="ADAL" clId="{A2C2D679-82F2-40A9-9881-D360A3EA4FAC}" dt="2024-09-14T09:18:31.154" v="2019" actId="164"/>
          <ac:grpSpMkLst>
            <pc:docMk/>
            <pc:sldMk cId="2225657520" sldId="2147481459"/>
            <ac:grpSpMk id="13" creationId="{5C327562-BB32-34C1-3349-909C4BB20F94}"/>
          </ac:grpSpMkLst>
        </pc:grpChg>
        <pc:grpChg chg="add mod">
          <ac:chgData name="Trond Winther | Lnett" userId="5f667486-3779-43c1-b610-902c7aaa42e0" providerId="ADAL" clId="{A2C2D679-82F2-40A9-9881-D360A3EA4FAC}" dt="2024-09-14T09:18:57.996" v="2025" actId="164"/>
          <ac:grpSpMkLst>
            <pc:docMk/>
            <pc:sldMk cId="2225657520" sldId="2147481459"/>
            <ac:grpSpMk id="14" creationId="{2661C5A1-34C0-96D5-3150-654620CF1663}"/>
          </ac:grpSpMkLst>
        </pc:grpChg>
        <pc:grpChg chg="add mod">
          <ac:chgData name="Trond Winther | Lnett" userId="5f667486-3779-43c1-b610-902c7aaa42e0" providerId="ADAL" clId="{A2C2D679-82F2-40A9-9881-D360A3EA4FAC}" dt="2024-09-14T09:19:19.747" v="2027" actId="1076"/>
          <ac:grpSpMkLst>
            <pc:docMk/>
            <pc:sldMk cId="2225657520" sldId="2147481459"/>
            <ac:grpSpMk id="15" creationId="{278B3AAC-4DD1-4163-2381-260453D10695}"/>
          </ac:grpSpMkLst>
        </pc:grpChg>
        <pc:graphicFrameChg chg="add del mod">
          <ac:chgData name="Trond Winther | Lnett" userId="5f667486-3779-43c1-b610-902c7aaa42e0" providerId="ADAL" clId="{A2C2D679-82F2-40A9-9881-D360A3EA4FAC}" dt="2024-09-14T09:14:42.105" v="1980"/>
          <ac:graphicFrameMkLst>
            <pc:docMk/>
            <pc:sldMk cId="2225657520" sldId="2147481459"/>
            <ac:graphicFrameMk id="5" creationId="{B27C3D26-A79A-EFBB-A672-F0EA805ADFBC}"/>
          </ac:graphicFrameMkLst>
        </pc:graphicFrameChg>
        <pc:graphicFrameChg chg="add mod modGraphic">
          <ac:chgData name="Trond Winther | Lnett" userId="5f667486-3779-43c1-b610-902c7aaa42e0" providerId="ADAL" clId="{A2C2D679-82F2-40A9-9881-D360A3EA4FAC}" dt="2024-09-14T09:36:41.801" v="3515" actId="478"/>
          <ac:graphicFrameMkLst>
            <pc:docMk/>
            <pc:sldMk cId="2225657520" sldId="2147481459"/>
            <ac:graphicFrameMk id="7" creationId="{EC2E2CEE-AE00-C94C-96EC-400C30C3DEC1}"/>
          </ac:graphicFrameMkLst>
        </pc:graphicFrameChg>
        <pc:picChg chg="add del">
          <ac:chgData name="Trond Winther | Lnett" userId="5f667486-3779-43c1-b610-902c7aaa42e0" providerId="ADAL" clId="{A2C2D679-82F2-40A9-9881-D360A3EA4FAC}" dt="2024-09-14T09:15:16.115" v="1982"/>
          <ac:picMkLst>
            <pc:docMk/>
            <pc:sldMk cId="2225657520" sldId="2147481459"/>
            <ac:picMk id="6" creationId="{BE912E9C-188C-1BA4-54B4-3499A71C15EA}"/>
          </ac:picMkLst>
        </pc:picChg>
        <pc:picChg chg="add del mod">
          <ac:chgData name="Trond Winther | Lnett" userId="5f667486-3779-43c1-b610-902c7aaa42e0" providerId="ADAL" clId="{A2C2D679-82F2-40A9-9881-D360A3EA4FAC}" dt="2024-09-14T09:21:22.920" v="2375" actId="478"/>
          <ac:picMkLst>
            <pc:docMk/>
            <pc:sldMk cId="2225657520" sldId="2147481459"/>
            <ac:picMk id="9" creationId="{CEA8ACAD-FEFF-F9E2-5627-1085931410AD}"/>
          </ac:picMkLst>
        </pc:picChg>
        <pc:picChg chg="add mod">
          <ac:chgData name="Trond Winther | Lnett" userId="5f667486-3779-43c1-b610-902c7aaa42e0" providerId="ADAL" clId="{A2C2D679-82F2-40A9-9881-D360A3EA4FAC}" dt="2024-09-14T09:19:08.682" v="2026" actId="164"/>
          <ac:picMkLst>
            <pc:docMk/>
            <pc:sldMk cId="2225657520" sldId="2147481459"/>
            <ac:picMk id="10" creationId="{27AA9969-E085-459B-6E7F-7A3DF8C80FC6}"/>
          </ac:picMkLst>
        </pc:picChg>
        <pc:picChg chg="add mod">
          <ac:chgData name="Trond Winther | Lnett" userId="5f667486-3779-43c1-b610-902c7aaa42e0" providerId="ADAL" clId="{A2C2D679-82F2-40A9-9881-D360A3EA4FAC}" dt="2024-09-14T09:19:08.682" v="2026" actId="164"/>
          <ac:picMkLst>
            <pc:docMk/>
            <pc:sldMk cId="2225657520" sldId="2147481459"/>
            <ac:picMk id="11" creationId="{862544C5-D503-54BC-94D9-40AA6E7A3384}"/>
          </ac:picMkLst>
        </pc:picChg>
        <pc:picChg chg="add mod">
          <ac:chgData name="Trond Winther | Lnett" userId="5f667486-3779-43c1-b610-902c7aaa42e0" providerId="ADAL" clId="{A2C2D679-82F2-40A9-9881-D360A3EA4FAC}" dt="2024-09-14T09:19:08.682" v="2026" actId="164"/>
          <ac:picMkLst>
            <pc:docMk/>
            <pc:sldMk cId="2225657520" sldId="2147481459"/>
            <ac:picMk id="12" creationId="{A8922130-E3E4-2160-1CC8-90BEA4308D5C}"/>
          </ac:picMkLst>
        </pc:picChg>
        <pc:picChg chg="add mod">
          <ac:chgData name="Trond Winther | Lnett" userId="5f667486-3779-43c1-b610-902c7aaa42e0" providerId="ADAL" clId="{A2C2D679-82F2-40A9-9881-D360A3EA4FAC}" dt="2024-09-14T09:21:30.793" v="2377" actId="14100"/>
          <ac:picMkLst>
            <pc:docMk/>
            <pc:sldMk cId="2225657520" sldId="2147481459"/>
            <ac:picMk id="17" creationId="{97D77727-C25F-C16F-F4A8-FB764B1E6891}"/>
          </ac:picMkLst>
        </pc:picChg>
      </pc:sldChg>
      <pc:sldChg chg="modSp mod modTransition modAnim modNotesTx">
        <pc:chgData name="Trond Winther | Lnett" userId="5f667486-3779-43c1-b610-902c7aaa42e0" providerId="ADAL" clId="{A2C2D679-82F2-40A9-9881-D360A3EA4FAC}" dt="2024-09-24T17:05:53.637" v="13847" actId="20577"/>
        <pc:sldMkLst>
          <pc:docMk/>
          <pc:sldMk cId="3354665777" sldId="2147481460"/>
        </pc:sldMkLst>
        <pc:graphicFrameChg chg="mod modGraphic">
          <ac:chgData name="Trond Winther | Lnett" userId="5f667486-3779-43c1-b610-902c7aaa42e0" providerId="ADAL" clId="{A2C2D679-82F2-40A9-9881-D360A3EA4FAC}" dt="2024-09-14T09:24:28.575" v="2999" actId="207"/>
          <ac:graphicFrameMkLst>
            <pc:docMk/>
            <pc:sldMk cId="3354665777" sldId="2147481460"/>
            <ac:graphicFrameMk id="7" creationId="{EC2E2CEE-AE00-C94C-96EC-400C30C3DEC1}"/>
          </ac:graphicFrameMkLst>
        </pc:graphicFrameChg>
        <pc:picChg chg="mod">
          <ac:chgData name="Trond Winther | Lnett" userId="5f667486-3779-43c1-b610-902c7aaa42e0" providerId="ADAL" clId="{A2C2D679-82F2-40A9-9881-D360A3EA4FAC}" dt="2024-09-14T09:24:24.645" v="2998" actId="207"/>
          <ac:picMkLst>
            <pc:docMk/>
            <pc:sldMk cId="3354665777" sldId="2147481460"/>
            <ac:picMk id="11" creationId="{862544C5-D503-54BC-94D9-40AA6E7A3384}"/>
          </ac:picMkLst>
        </pc:picChg>
      </pc:sldChg>
      <pc:sldChg chg="modSp mod modTransition modNotesTx">
        <pc:chgData name="Trond Winther | Lnett" userId="5f667486-3779-43c1-b610-902c7aaa42e0" providerId="ADAL" clId="{A2C2D679-82F2-40A9-9881-D360A3EA4FAC}" dt="2024-09-24T17:06:37.935" v="13901" actId="5793"/>
        <pc:sldMkLst>
          <pc:docMk/>
          <pc:sldMk cId="3084911537" sldId="2147481461"/>
        </pc:sldMkLst>
        <pc:graphicFrameChg chg="mod modGraphic">
          <ac:chgData name="Trond Winther | Lnett" userId="5f667486-3779-43c1-b610-902c7aaa42e0" providerId="ADAL" clId="{A2C2D679-82F2-40A9-9881-D360A3EA4FAC}" dt="2024-09-14T09:25:08.938" v="3003" actId="207"/>
          <ac:graphicFrameMkLst>
            <pc:docMk/>
            <pc:sldMk cId="3084911537" sldId="2147481461"/>
            <ac:graphicFrameMk id="7" creationId="{EC2E2CEE-AE00-C94C-96EC-400C30C3DEC1}"/>
          </ac:graphicFrameMkLst>
        </pc:graphicFrameChg>
        <pc:picChg chg="mod">
          <ac:chgData name="Trond Winther | Lnett" userId="5f667486-3779-43c1-b610-902c7aaa42e0" providerId="ADAL" clId="{A2C2D679-82F2-40A9-9881-D360A3EA4FAC}" dt="2024-09-14T09:24:56.761" v="3001" actId="207"/>
          <ac:picMkLst>
            <pc:docMk/>
            <pc:sldMk cId="3084911537" sldId="2147481461"/>
            <ac:picMk id="11" creationId="{862544C5-D503-54BC-94D9-40AA6E7A3384}"/>
          </ac:picMkLst>
        </pc:picChg>
      </pc:sldChg>
      <pc:sldChg chg="modSp mod modTransition modNotesTx">
        <pc:chgData name="Trond Winther | Lnett" userId="5f667486-3779-43c1-b610-902c7aaa42e0" providerId="ADAL" clId="{A2C2D679-82F2-40A9-9881-D360A3EA4FAC}" dt="2024-09-24T17:07:20.556" v="13991" actId="20577"/>
        <pc:sldMkLst>
          <pc:docMk/>
          <pc:sldMk cId="4183177793" sldId="2147481462"/>
        </pc:sldMkLst>
        <pc:graphicFrameChg chg="modGraphic">
          <ac:chgData name="Trond Winther | Lnett" userId="5f667486-3779-43c1-b610-902c7aaa42e0" providerId="ADAL" clId="{A2C2D679-82F2-40A9-9881-D360A3EA4FAC}" dt="2024-09-14T09:25:32.892" v="3005" actId="207"/>
          <ac:graphicFrameMkLst>
            <pc:docMk/>
            <pc:sldMk cId="4183177793" sldId="2147481462"/>
            <ac:graphicFrameMk id="7" creationId="{EC2E2CEE-AE00-C94C-96EC-400C30C3DEC1}"/>
          </ac:graphicFrameMkLst>
        </pc:graphicFrameChg>
        <pc:picChg chg="mod">
          <ac:chgData name="Trond Winther | Lnett" userId="5f667486-3779-43c1-b610-902c7aaa42e0" providerId="ADAL" clId="{A2C2D679-82F2-40A9-9881-D360A3EA4FAC}" dt="2024-09-14T09:25:27.972" v="3004" actId="207"/>
          <ac:picMkLst>
            <pc:docMk/>
            <pc:sldMk cId="4183177793" sldId="2147481462"/>
            <ac:picMk id="11" creationId="{862544C5-D503-54BC-94D9-40AA6E7A3384}"/>
          </ac:picMkLst>
        </pc:picChg>
      </pc:sldChg>
      <pc:sldChg chg="add modTransition modNotesTx">
        <pc:chgData name="Trond Winther | Lnett" userId="5f667486-3779-43c1-b610-902c7aaa42e0" providerId="ADAL" clId="{A2C2D679-82F2-40A9-9881-D360A3EA4FAC}" dt="2024-09-14T12:30:08.842" v="5374" actId="20577"/>
        <pc:sldMkLst>
          <pc:docMk/>
          <pc:sldMk cId="3885098646" sldId="2147481463"/>
        </pc:sldMkLst>
      </pc:sldChg>
      <pc:sldChg chg="addSp delSp modSp add mod modTransition modNotesTx">
        <pc:chgData name="Trond Winther | Lnett" userId="5f667486-3779-43c1-b610-902c7aaa42e0" providerId="ADAL" clId="{A2C2D679-82F2-40A9-9881-D360A3EA4FAC}" dt="2024-09-24T17:07:35.520" v="14002" actId="20577"/>
        <pc:sldMkLst>
          <pc:docMk/>
          <pc:sldMk cId="332735495" sldId="2147481464"/>
        </pc:sldMkLst>
        <pc:spChg chg="add del mod">
          <ac:chgData name="Trond Winther | Lnett" userId="5f667486-3779-43c1-b610-902c7aaa42e0" providerId="ADAL" clId="{A2C2D679-82F2-40A9-9881-D360A3EA4FAC}" dt="2024-09-14T09:31:10.171" v="3033"/>
          <ac:spMkLst>
            <pc:docMk/>
            <pc:sldMk cId="332735495" sldId="2147481464"/>
            <ac:spMk id="2" creationId="{419C7FF2-B7F3-C2BB-9A9C-9D65656D7451}"/>
          </ac:spMkLst>
        </pc:spChg>
        <pc:spChg chg="add mod">
          <ac:chgData name="Trond Winther | Lnett" userId="5f667486-3779-43c1-b610-902c7aaa42e0" providerId="ADAL" clId="{A2C2D679-82F2-40A9-9881-D360A3EA4FAC}" dt="2024-09-14T09:32:05.444" v="3046" actId="1076"/>
          <ac:spMkLst>
            <pc:docMk/>
            <pc:sldMk cId="332735495" sldId="2147481464"/>
            <ac:spMk id="3" creationId="{AF60DBE5-2D0A-D5E1-8F03-65B309C05343}"/>
          </ac:spMkLst>
        </pc:spChg>
        <pc:spChg chg="add del mod">
          <ac:chgData name="Trond Winther | Lnett" userId="5f667486-3779-43c1-b610-902c7aaa42e0" providerId="ADAL" clId="{A2C2D679-82F2-40A9-9881-D360A3EA4FAC}" dt="2024-09-14T09:40:48.291" v="3555"/>
          <ac:spMkLst>
            <pc:docMk/>
            <pc:sldMk cId="332735495" sldId="2147481464"/>
            <ac:spMk id="4" creationId="{BBEDB3D8-272E-6F61-059F-09D7CCDC215F}"/>
          </ac:spMkLst>
        </pc:spChg>
        <pc:spChg chg="add del mod">
          <ac:chgData name="Trond Winther | Lnett" userId="5f667486-3779-43c1-b610-902c7aaa42e0" providerId="ADAL" clId="{A2C2D679-82F2-40A9-9881-D360A3EA4FAC}" dt="2024-09-14T12:49:17.744" v="8377"/>
          <ac:spMkLst>
            <pc:docMk/>
            <pc:sldMk cId="332735495" sldId="2147481464"/>
            <ac:spMk id="5" creationId="{AA6E1F73-C0A0-C046-7B2A-333315AE9CCC}"/>
          </ac:spMkLst>
        </pc:spChg>
        <pc:grpChg chg="del">
          <ac:chgData name="Trond Winther | Lnett" userId="5f667486-3779-43c1-b610-902c7aaa42e0" providerId="ADAL" clId="{A2C2D679-82F2-40A9-9881-D360A3EA4FAC}" dt="2024-09-14T09:30:47.621" v="3027" actId="478"/>
          <ac:grpSpMkLst>
            <pc:docMk/>
            <pc:sldMk cId="332735495" sldId="2147481464"/>
            <ac:grpSpMk id="15" creationId="{278B3AAC-4DD1-4163-2381-260453D10695}"/>
          </ac:grpSpMkLst>
        </pc:grpChg>
        <pc:picChg chg="del">
          <ac:chgData name="Trond Winther | Lnett" userId="5f667486-3779-43c1-b610-902c7aaa42e0" providerId="ADAL" clId="{A2C2D679-82F2-40A9-9881-D360A3EA4FAC}" dt="2024-09-14T09:30:45.555" v="3026" actId="478"/>
          <ac:picMkLst>
            <pc:docMk/>
            <pc:sldMk cId="332735495" sldId="2147481464"/>
            <ac:picMk id="17" creationId="{97D77727-C25F-C16F-F4A8-FB764B1E6891}"/>
          </ac:picMkLst>
        </pc:picChg>
      </pc:sldChg>
      <pc:sldChg chg="add modTransition modNotesTx">
        <pc:chgData name="Trond Winther | Lnett" userId="5f667486-3779-43c1-b610-902c7aaa42e0" providerId="ADAL" clId="{A2C2D679-82F2-40A9-9881-D360A3EA4FAC}" dt="2024-09-24T17:10:03.746" v="14147" actId="20577"/>
        <pc:sldMkLst>
          <pc:docMk/>
          <pc:sldMk cId="1683507345" sldId="2147481465"/>
        </pc:sldMkLst>
      </pc:sldChg>
      <pc:sldChg chg="addSp delSp modSp add mod modTransition modAnim modNotesTx">
        <pc:chgData name="Trond Winther | Lnett" userId="5f667486-3779-43c1-b610-902c7aaa42e0" providerId="ADAL" clId="{A2C2D679-82F2-40A9-9881-D360A3EA4FAC}" dt="2024-09-24T17:09:11.820" v="14019" actId="20577"/>
        <pc:sldMkLst>
          <pc:docMk/>
          <pc:sldMk cId="3840881953" sldId="2147481466"/>
        </pc:sldMkLst>
        <pc:spChg chg="add mod">
          <ac:chgData name="Trond Winther | Lnett" userId="5f667486-3779-43c1-b610-902c7aaa42e0" providerId="ADAL" clId="{A2C2D679-82F2-40A9-9881-D360A3EA4FAC}" dt="2024-09-24T16:50:07.459" v="13276" actId="164"/>
          <ac:spMkLst>
            <pc:docMk/>
            <pc:sldMk cId="3840881953" sldId="2147481466"/>
            <ac:spMk id="2" creationId="{00BA5A74-9F6D-23F9-1C92-32D090F3E6D9}"/>
          </ac:spMkLst>
        </pc:spChg>
        <pc:spChg chg="add mod">
          <ac:chgData name="Trond Winther | Lnett" userId="5f667486-3779-43c1-b610-902c7aaa42e0" providerId="ADAL" clId="{A2C2D679-82F2-40A9-9881-D360A3EA4FAC}" dt="2024-09-24T16:49:58.496" v="13275" actId="1076"/>
          <ac:spMkLst>
            <pc:docMk/>
            <pc:sldMk cId="3840881953" sldId="2147481466"/>
            <ac:spMk id="4" creationId="{988C4804-D4D1-879E-FD2D-05CA121490D8}"/>
          </ac:spMkLst>
        </pc:spChg>
        <pc:spChg chg="add del mod">
          <ac:chgData name="Trond Winther | Lnett" userId="5f667486-3779-43c1-b610-902c7aaa42e0" providerId="ADAL" clId="{A2C2D679-82F2-40A9-9881-D360A3EA4FAC}" dt="2024-09-14T09:39:39.135" v="3547" actId="478"/>
          <ac:spMkLst>
            <pc:docMk/>
            <pc:sldMk cId="3840881953" sldId="2147481466"/>
            <ac:spMk id="5" creationId="{07BFDBEE-D43A-660D-26C2-3CF715169BFC}"/>
          </ac:spMkLst>
        </pc:spChg>
        <pc:spChg chg="add mod">
          <ac:chgData name="Trond Winther | Lnett" userId="5f667486-3779-43c1-b610-902c7aaa42e0" providerId="ADAL" clId="{A2C2D679-82F2-40A9-9881-D360A3EA4FAC}" dt="2024-09-14T12:43:37.529" v="7646" actId="1036"/>
          <ac:spMkLst>
            <pc:docMk/>
            <pc:sldMk cId="3840881953" sldId="2147481466"/>
            <ac:spMk id="6" creationId="{F03C1E6B-ECC4-3D0C-ACBD-D8E6A4CC3CCE}"/>
          </ac:spMkLst>
        </pc:spChg>
        <pc:spChg chg="add mod">
          <ac:chgData name="Trond Winther | Lnett" userId="5f667486-3779-43c1-b610-902c7aaa42e0" providerId="ADAL" clId="{A2C2D679-82F2-40A9-9881-D360A3EA4FAC}" dt="2024-09-14T12:43:37.529" v="7646" actId="1036"/>
          <ac:spMkLst>
            <pc:docMk/>
            <pc:sldMk cId="3840881953" sldId="2147481466"/>
            <ac:spMk id="9" creationId="{3FE056C3-174C-30D6-7C32-91E3D80A597E}"/>
          </ac:spMkLst>
        </pc:spChg>
        <pc:spChg chg="add mod">
          <ac:chgData name="Trond Winther | Lnett" userId="5f667486-3779-43c1-b610-902c7aaa42e0" providerId="ADAL" clId="{A2C2D679-82F2-40A9-9881-D360A3EA4FAC}" dt="2024-09-14T14:08:06.352" v="12276" actId="1076"/>
          <ac:spMkLst>
            <pc:docMk/>
            <pc:sldMk cId="3840881953" sldId="2147481466"/>
            <ac:spMk id="13" creationId="{4AB140EC-B891-759D-1AE1-EDACC56FCC7A}"/>
          </ac:spMkLst>
        </pc:spChg>
        <pc:spChg chg="add del mod">
          <ac:chgData name="Trond Winther | Lnett" userId="5f667486-3779-43c1-b610-902c7aaa42e0" providerId="ADAL" clId="{A2C2D679-82F2-40A9-9881-D360A3EA4FAC}" dt="2024-09-14T09:45:08.355" v="3706" actId="478"/>
          <ac:spMkLst>
            <pc:docMk/>
            <pc:sldMk cId="3840881953" sldId="2147481466"/>
            <ac:spMk id="14" creationId="{A2841A35-B845-8595-C51F-3FD50A976AFA}"/>
          </ac:spMkLst>
        </pc:spChg>
        <pc:spChg chg="add mod ord">
          <ac:chgData name="Trond Winther | Lnett" userId="5f667486-3779-43c1-b610-902c7aaa42e0" providerId="ADAL" clId="{A2C2D679-82F2-40A9-9881-D360A3EA4FAC}" dt="2024-09-24T16:50:07.459" v="13276" actId="164"/>
          <ac:spMkLst>
            <pc:docMk/>
            <pc:sldMk cId="3840881953" sldId="2147481466"/>
            <ac:spMk id="16" creationId="{2A1821AA-F48E-3FE7-5115-E812B1D59A05}"/>
          </ac:spMkLst>
        </pc:spChg>
        <pc:grpChg chg="add mod">
          <ac:chgData name="Trond Winther | Lnett" userId="5f667486-3779-43c1-b610-902c7aaa42e0" providerId="ADAL" clId="{A2C2D679-82F2-40A9-9881-D360A3EA4FAC}" dt="2024-09-24T16:50:07.459" v="13276" actId="164"/>
          <ac:grpSpMkLst>
            <pc:docMk/>
            <pc:sldMk cId="3840881953" sldId="2147481466"/>
            <ac:grpSpMk id="5" creationId="{274E9E97-FAA6-B8E5-CD4F-DBB49B31BF93}"/>
          </ac:grpSpMkLst>
        </pc:grpChg>
        <pc:grpChg chg="del">
          <ac:chgData name="Trond Winther | Lnett" userId="5f667486-3779-43c1-b610-902c7aaa42e0" providerId="ADAL" clId="{A2C2D679-82F2-40A9-9881-D360A3EA4FAC}" dt="2024-09-14T09:37:12.434" v="3518" actId="478"/>
          <ac:grpSpMkLst>
            <pc:docMk/>
            <pc:sldMk cId="3840881953" sldId="2147481466"/>
            <ac:grpSpMk id="15" creationId="{278B3AAC-4DD1-4163-2381-260453D10695}"/>
          </ac:grpSpMkLst>
        </pc:grpChg>
        <pc:picChg chg="del">
          <ac:chgData name="Trond Winther | Lnett" userId="5f667486-3779-43c1-b610-902c7aaa42e0" providerId="ADAL" clId="{A2C2D679-82F2-40A9-9881-D360A3EA4FAC}" dt="2024-09-14T09:37:11.385" v="3517" actId="478"/>
          <ac:picMkLst>
            <pc:docMk/>
            <pc:sldMk cId="3840881953" sldId="2147481466"/>
            <ac:picMk id="17" creationId="{97D77727-C25F-C16F-F4A8-FB764B1E6891}"/>
          </ac:picMkLst>
        </pc:picChg>
        <pc:cxnChg chg="add mod">
          <ac:chgData name="Trond Winther | Lnett" userId="5f667486-3779-43c1-b610-902c7aaa42e0" providerId="ADAL" clId="{A2C2D679-82F2-40A9-9881-D360A3EA4FAC}" dt="2024-09-14T12:43:37.529" v="7646" actId="1036"/>
          <ac:cxnSpMkLst>
            <pc:docMk/>
            <pc:sldMk cId="3840881953" sldId="2147481466"/>
            <ac:cxnSpMk id="3" creationId="{ECD626CD-256D-7F23-3F7B-A1B97CACBF2F}"/>
          </ac:cxnSpMkLst>
        </pc:cxnChg>
      </pc:sldChg>
      <pc:sldChg chg="addSp delSp modSp add mod ord modTransition delAnim modAnim modNotesTx">
        <pc:chgData name="Trond Winther | Lnett" userId="5f667486-3779-43c1-b610-902c7aaa42e0" providerId="ADAL" clId="{A2C2D679-82F2-40A9-9881-D360A3EA4FAC}" dt="2024-09-24T17:02:26.573" v="13565" actId="20577"/>
        <pc:sldMkLst>
          <pc:docMk/>
          <pc:sldMk cId="700603157" sldId="2147481467"/>
        </pc:sldMkLst>
        <pc:spChg chg="del">
          <ac:chgData name="Trond Winther | Lnett" userId="5f667486-3779-43c1-b610-902c7aaa42e0" providerId="ADAL" clId="{A2C2D679-82F2-40A9-9881-D360A3EA4FAC}" dt="2024-09-14T09:44:47.040" v="3703" actId="478"/>
          <ac:spMkLst>
            <pc:docMk/>
            <pc:sldMk cId="700603157" sldId="2147481467"/>
            <ac:spMk id="4" creationId="{988C4804-D4D1-879E-FD2D-05CA121490D8}"/>
          </ac:spMkLst>
        </pc:spChg>
        <pc:spChg chg="del">
          <ac:chgData name="Trond Winther | Lnett" userId="5f667486-3779-43c1-b610-902c7aaa42e0" providerId="ADAL" clId="{A2C2D679-82F2-40A9-9881-D360A3EA4FAC}" dt="2024-09-14T09:44:47.040" v="3703" actId="478"/>
          <ac:spMkLst>
            <pc:docMk/>
            <pc:sldMk cId="700603157" sldId="2147481467"/>
            <ac:spMk id="6" creationId="{F03C1E6B-ECC4-3D0C-ACBD-D8E6A4CC3CCE}"/>
          </ac:spMkLst>
        </pc:spChg>
        <pc:spChg chg="del">
          <ac:chgData name="Trond Winther | Lnett" userId="5f667486-3779-43c1-b610-902c7aaa42e0" providerId="ADAL" clId="{A2C2D679-82F2-40A9-9881-D360A3EA4FAC}" dt="2024-09-14T09:44:47.040" v="3703" actId="478"/>
          <ac:spMkLst>
            <pc:docMk/>
            <pc:sldMk cId="700603157" sldId="2147481467"/>
            <ac:spMk id="9" creationId="{3FE056C3-174C-30D6-7C32-91E3D80A597E}"/>
          </ac:spMkLst>
        </pc:spChg>
        <pc:spChg chg="del">
          <ac:chgData name="Trond Winther | Lnett" userId="5f667486-3779-43c1-b610-902c7aaa42e0" providerId="ADAL" clId="{A2C2D679-82F2-40A9-9881-D360A3EA4FAC}" dt="2024-09-14T09:44:47.040" v="3703" actId="478"/>
          <ac:spMkLst>
            <pc:docMk/>
            <pc:sldMk cId="700603157" sldId="2147481467"/>
            <ac:spMk id="13" creationId="{4AB140EC-B891-759D-1AE1-EDACC56FCC7A}"/>
          </ac:spMkLst>
        </pc:spChg>
        <pc:spChg chg="add del mod">
          <ac:chgData name="Trond Winther | Lnett" userId="5f667486-3779-43c1-b610-902c7aaa42e0" providerId="ADAL" clId="{A2C2D679-82F2-40A9-9881-D360A3EA4FAC}" dt="2024-09-24T16:52:36.328" v="13288" actId="403"/>
          <ac:spMkLst>
            <pc:docMk/>
            <pc:sldMk cId="700603157" sldId="2147481467"/>
            <ac:spMk id="14" creationId="{A2841A35-B845-8595-C51F-3FD50A976AFA}"/>
          </ac:spMkLst>
        </pc:spChg>
        <pc:cxnChg chg="del">
          <ac:chgData name="Trond Winther | Lnett" userId="5f667486-3779-43c1-b610-902c7aaa42e0" providerId="ADAL" clId="{A2C2D679-82F2-40A9-9881-D360A3EA4FAC}" dt="2024-09-14T09:44:47.040" v="3703" actId="478"/>
          <ac:cxnSpMkLst>
            <pc:docMk/>
            <pc:sldMk cId="700603157" sldId="2147481467"/>
            <ac:cxnSpMk id="3" creationId="{ECD626CD-256D-7F23-3F7B-A1B97CACBF2F}"/>
          </ac:cxnSpMkLst>
        </pc:cxnChg>
      </pc:sldChg>
      <pc:sldChg chg="delSp del mod">
        <pc:chgData name="Trond Winther | Lnett" userId="5f667486-3779-43c1-b610-902c7aaa42e0" providerId="ADAL" clId="{A2C2D679-82F2-40A9-9881-D360A3EA4FAC}" dt="2024-09-14T09:17:42.323" v="2010" actId="47"/>
        <pc:sldMkLst>
          <pc:docMk/>
          <pc:sldMk cId="1864853853" sldId="2147481468"/>
        </pc:sldMkLst>
        <pc:spChg chg="del">
          <ac:chgData name="Trond Winther | Lnett" userId="5f667486-3779-43c1-b610-902c7aaa42e0" providerId="ADAL" clId="{A2C2D679-82F2-40A9-9881-D360A3EA4FAC}" dt="2024-09-14T09:14:05.624" v="1974" actId="478"/>
          <ac:spMkLst>
            <pc:docMk/>
            <pc:sldMk cId="1864853853" sldId="2147481468"/>
            <ac:spMk id="2" creationId="{B8586842-ABFC-47BF-E51C-AD7278F0273A}"/>
          </ac:spMkLst>
        </pc:spChg>
        <pc:spChg chg="del">
          <ac:chgData name="Trond Winther | Lnett" userId="5f667486-3779-43c1-b610-902c7aaa42e0" providerId="ADAL" clId="{A2C2D679-82F2-40A9-9881-D360A3EA4FAC}" dt="2024-09-14T09:14:06.268" v="1975" actId="478"/>
          <ac:spMkLst>
            <pc:docMk/>
            <pc:sldMk cId="1864853853" sldId="2147481468"/>
            <ac:spMk id="3" creationId="{A06FD501-1869-4158-381C-AB9E8C89D07D}"/>
          </ac:spMkLst>
        </pc:spChg>
        <pc:spChg chg="del">
          <ac:chgData name="Trond Winther | Lnett" userId="5f667486-3779-43c1-b610-902c7aaa42e0" providerId="ADAL" clId="{A2C2D679-82F2-40A9-9881-D360A3EA4FAC}" dt="2024-09-14T09:14:07.918" v="1976" actId="478"/>
          <ac:spMkLst>
            <pc:docMk/>
            <pc:sldMk cId="1864853853" sldId="2147481468"/>
            <ac:spMk id="4" creationId="{774F7F9A-BC9C-47B0-BFEC-4121DAF9F52A}"/>
          </ac:spMkLst>
        </pc:spChg>
        <pc:spChg chg="del">
          <ac:chgData name="Trond Winther | Lnett" userId="5f667486-3779-43c1-b610-902c7aaa42e0" providerId="ADAL" clId="{A2C2D679-82F2-40A9-9881-D360A3EA4FAC}" dt="2024-09-14T09:14:03.969" v="1973" actId="478"/>
          <ac:spMkLst>
            <pc:docMk/>
            <pc:sldMk cId="1864853853" sldId="2147481468"/>
            <ac:spMk id="5" creationId="{D8ECF59A-1AC1-79ED-EEF6-358A898F14C3}"/>
          </ac:spMkLst>
        </pc:spChg>
      </pc:sldChg>
      <pc:sldChg chg="modSp add mod modNotesTx">
        <pc:chgData name="Trond Winther | Lnett" userId="5f667486-3779-43c1-b610-902c7aaa42e0" providerId="ADAL" clId="{A2C2D679-82F2-40A9-9881-D360A3EA4FAC}" dt="2024-09-23T14:45:40.529" v="13262" actId="20577"/>
        <pc:sldMkLst>
          <pc:docMk/>
          <pc:sldMk cId="2410840071" sldId="2147481468"/>
        </pc:sldMkLst>
        <pc:spChg chg="mod">
          <ac:chgData name="Trond Winther | Lnett" userId="5f667486-3779-43c1-b610-902c7aaa42e0" providerId="ADAL" clId="{A2C2D679-82F2-40A9-9881-D360A3EA4FAC}" dt="2024-09-14T12:52:56.224" v="8996" actId="108"/>
          <ac:spMkLst>
            <pc:docMk/>
            <pc:sldMk cId="2410840071" sldId="2147481468"/>
            <ac:spMk id="3" creationId="{AF60DBE5-2D0A-D5E1-8F03-65B309C05343}"/>
          </ac:spMkLst>
        </pc:spChg>
      </pc:sldChg>
      <pc:sldChg chg="modSp add del mod modTransition">
        <pc:chgData name="Trond Winther | Lnett" userId="5f667486-3779-43c1-b610-902c7aaa42e0" providerId="ADAL" clId="{A2C2D679-82F2-40A9-9881-D360A3EA4FAC}" dt="2024-09-14T12:19:28.124" v="3735" actId="47"/>
        <pc:sldMkLst>
          <pc:docMk/>
          <pc:sldMk cId="3485672021" sldId="2147481468"/>
        </pc:sldMkLst>
        <pc:spChg chg="mod">
          <ac:chgData name="Trond Winther | Lnett" userId="5f667486-3779-43c1-b610-902c7aaa42e0" providerId="ADAL" clId="{A2C2D679-82F2-40A9-9881-D360A3EA4FAC}" dt="2024-09-14T09:48:15.443" v="3725" actId="14100"/>
          <ac:spMkLst>
            <pc:docMk/>
            <pc:sldMk cId="3485672021" sldId="2147481468"/>
            <ac:spMk id="3" creationId="{AF60DBE5-2D0A-D5E1-8F03-65B309C05343}"/>
          </ac:spMkLst>
        </pc:spChg>
      </pc:sldChg>
      <pc:sldChg chg="modSp add mod modNotesTx">
        <pc:chgData name="Trond Winther | Lnett" userId="5f667486-3779-43c1-b610-902c7aaa42e0" providerId="ADAL" clId="{A2C2D679-82F2-40A9-9881-D360A3EA4FAC}" dt="2024-09-24T17:08:14.287" v="14008" actId="20577"/>
        <pc:sldMkLst>
          <pc:docMk/>
          <pc:sldMk cId="3130032776" sldId="2147481469"/>
        </pc:sldMkLst>
        <pc:spChg chg="mod">
          <ac:chgData name="Trond Winther | Lnett" userId="5f667486-3779-43c1-b610-902c7aaa42e0" providerId="ADAL" clId="{A2C2D679-82F2-40A9-9881-D360A3EA4FAC}" dt="2024-09-14T12:53:07.068" v="8997" actId="108"/>
          <ac:spMkLst>
            <pc:docMk/>
            <pc:sldMk cId="3130032776" sldId="2147481469"/>
            <ac:spMk id="3" creationId="{AF60DBE5-2D0A-D5E1-8F03-65B309C05343}"/>
          </ac:spMkLst>
        </pc:spChg>
      </pc:sldChg>
      <pc:sldChg chg="add modNotesTx">
        <pc:chgData name="Trond Winther | Lnett" userId="5f667486-3779-43c1-b610-902c7aaa42e0" providerId="ADAL" clId="{A2C2D679-82F2-40A9-9881-D360A3EA4FAC}" dt="2024-09-14T14:00:48.721" v="11947" actId="20577"/>
        <pc:sldMkLst>
          <pc:docMk/>
          <pc:sldMk cId="3893128022" sldId="2147481470"/>
        </pc:sldMkLst>
      </pc:sldChg>
      <pc:sldChg chg="add modAnim modNotesTx">
        <pc:chgData name="Trond Winther | Lnett" userId="5f667486-3779-43c1-b610-902c7aaa42e0" providerId="ADAL" clId="{A2C2D679-82F2-40A9-9881-D360A3EA4FAC}" dt="2024-09-24T17:08:26.753" v="14009" actId="20577"/>
        <pc:sldMkLst>
          <pc:docMk/>
          <pc:sldMk cId="1695819195" sldId="2147481471"/>
        </pc:sldMkLst>
      </pc:sldChg>
      <pc:sldChg chg="add">
        <pc:chgData name="Trond Winther | Lnett" userId="5f667486-3779-43c1-b610-902c7aaa42e0" providerId="ADAL" clId="{A2C2D679-82F2-40A9-9881-D360A3EA4FAC}" dt="2024-09-15T08:44:16.859" v="12542" actId="2890"/>
        <pc:sldMkLst>
          <pc:docMk/>
          <pc:sldMk cId="558685658" sldId="2147481472"/>
        </pc:sldMkLst>
      </pc:sldChg>
      <pc:sldChg chg="addSp delSp modSp add del mod">
        <pc:chgData name="Trond Winther | Lnett" userId="5f667486-3779-43c1-b610-902c7aaa42e0" providerId="ADAL" clId="{A2C2D679-82F2-40A9-9881-D360A3EA4FAC}" dt="2024-09-15T08:47:50.356" v="12607" actId="47"/>
        <pc:sldMkLst>
          <pc:docMk/>
          <pc:sldMk cId="488802669" sldId="2147481473"/>
        </pc:sldMkLst>
        <pc:spChg chg="del">
          <ac:chgData name="Trond Winther | Lnett" userId="5f667486-3779-43c1-b610-902c7aaa42e0" providerId="ADAL" clId="{A2C2D679-82F2-40A9-9881-D360A3EA4FAC}" dt="2024-09-15T08:46:26.830" v="12585" actId="478"/>
          <ac:spMkLst>
            <pc:docMk/>
            <pc:sldMk cId="488802669" sldId="2147481473"/>
            <ac:spMk id="7" creationId="{A5863B4D-7751-0165-A0C5-B72C6DC1B778}"/>
          </ac:spMkLst>
        </pc:spChg>
        <pc:grpChg chg="del">
          <ac:chgData name="Trond Winther | Lnett" userId="5f667486-3779-43c1-b610-902c7aaa42e0" providerId="ADAL" clId="{A2C2D679-82F2-40A9-9881-D360A3EA4FAC}" dt="2024-09-15T08:46:28.213" v="12586" actId="478"/>
          <ac:grpSpMkLst>
            <pc:docMk/>
            <pc:sldMk cId="488802669" sldId="2147481473"/>
            <ac:grpSpMk id="4" creationId="{C6B1E56B-2AFC-AD42-742E-9247E4CC4268}"/>
          </ac:grpSpMkLst>
        </pc:grpChg>
        <pc:grpChg chg="del">
          <ac:chgData name="Trond Winther | Lnett" userId="5f667486-3779-43c1-b610-902c7aaa42e0" providerId="ADAL" clId="{A2C2D679-82F2-40A9-9881-D360A3EA4FAC}" dt="2024-09-15T08:46:25.133" v="12584" actId="478"/>
          <ac:grpSpMkLst>
            <pc:docMk/>
            <pc:sldMk cId="488802669" sldId="2147481473"/>
            <ac:grpSpMk id="9" creationId="{08D28A40-94AB-B6C6-8354-99E799A31F40}"/>
          </ac:grpSpMkLst>
        </pc:grpChg>
        <pc:picChg chg="del">
          <ac:chgData name="Trond Winther | Lnett" userId="5f667486-3779-43c1-b610-902c7aaa42e0" providerId="ADAL" clId="{A2C2D679-82F2-40A9-9881-D360A3EA4FAC}" dt="2024-09-15T08:46:19.430" v="12583" actId="478"/>
          <ac:picMkLst>
            <pc:docMk/>
            <pc:sldMk cId="488802669" sldId="2147481473"/>
            <ac:picMk id="3" creationId="{B5882736-F11B-1FE3-CAD3-ED39D17B3B37}"/>
          </ac:picMkLst>
        </pc:picChg>
        <pc:picChg chg="add mod">
          <ac:chgData name="Trond Winther | Lnett" userId="5f667486-3779-43c1-b610-902c7aaa42e0" providerId="ADAL" clId="{A2C2D679-82F2-40A9-9881-D360A3EA4FAC}" dt="2024-09-15T08:47:32.299" v="12606" actId="1076"/>
          <ac:picMkLst>
            <pc:docMk/>
            <pc:sldMk cId="488802669" sldId="2147481473"/>
            <ac:picMk id="13" creationId="{2833664F-FA8A-9C40-A518-AF3EAA2534EA}"/>
          </ac:picMkLst>
        </pc:picChg>
      </pc:sldChg>
      <pc:sldMasterChg chg="modSldLayout">
        <pc:chgData name="Trond Winther | Lnett" userId="5f667486-3779-43c1-b610-902c7aaa42e0" providerId="ADAL" clId="{A2C2D679-82F2-40A9-9881-D360A3EA4FAC}" dt="2024-09-14T09:49:38.671" v="3734"/>
        <pc:sldMasterMkLst>
          <pc:docMk/>
          <pc:sldMasterMk cId="2658137332" sldId="2147484023"/>
        </pc:sldMasterMkLst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658137332" sldId="2147484023"/>
            <pc:sldLayoutMk cId="3685583514" sldId="2147484024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658137332" sldId="2147484023"/>
            <pc:sldLayoutMk cId="2058320790" sldId="2147484036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658137332" sldId="2147484023"/>
            <pc:sldLayoutMk cId="3924045172" sldId="2147484037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658137332" sldId="2147484023"/>
            <pc:sldLayoutMk cId="3602818323" sldId="2147484038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658137332" sldId="2147484023"/>
            <pc:sldLayoutMk cId="3733184403" sldId="2147484039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658137332" sldId="2147484023"/>
            <pc:sldLayoutMk cId="787090308" sldId="2147484040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658137332" sldId="2147484023"/>
            <pc:sldLayoutMk cId="2247035846" sldId="2147484041"/>
          </pc:sldLayoutMkLst>
        </pc:sldLayoutChg>
      </pc:sldMasterChg>
      <pc:sldMasterChg chg="modSldLayout">
        <pc:chgData name="Trond Winther | Lnett" userId="5f667486-3779-43c1-b610-902c7aaa42e0" providerId="ADAL" clId="{A2C2D679-82F2-40A9-9881-D360A3EA4FAC}" dt="2024-09-14T09:49:38.671" v="3734"/>
        <pc:sldMasterMkLst>
          <pc:docMk/>
          <pc:sldMasterMk cId="3607162663" sldId="2147484044"/>
        </pc:sldMasterMkLst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607162663" sldId="2147484044"/>
            <pc:sldLayoutMk cId="1362797002" sldId="2147484045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607162663" sldId="2147484044"/>
            <pc:sldLayoutMk cId="3547925988" sldId="2147484057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607162663" sldId="2147484044"/>
            <pc:sldLayoutMk cId="161291899" sldId="2147484058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607162663" sldId="2147484044"/>
            <pc:sldLayoutMk cId="2079733002" sldId="2147484059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607162663" sldId="2147484044"/>
            <pc:sldLayoutMk cId="2429662681" sldId="2147484060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607162663" sldId="2147484044"/>
            <pc:sldLayoutMk cId="4101899975" sldId="2147484061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607162663" sldId="2147484044"/>
            <pc:sldLayoutMk cId="925549445" sldId="2147484062"/>
          </pc:sldLayoutMkLst>
        </pc:sldLayoutChg>
      </pc:sldMasterChg>
      <pc:sldMasterChg chg="modSldLayout">
        <pc:chgData name="Trond Winther | Lnett" userId="5f667486-3779-43c1-b610-902c7aaa42e0" providerId="ADAL" clId="{A2C2D679-82F2-40A9-9881-D360A3EA4FAC}" dt="2024-09-14T09:49:38.671" v="3734"/>
        <pc:sldMasterMkLst>
          <pc:docMk/>
          <pc:sldMasterMk cId="2211184702" sldId="2147484066"/>
        </pc:sldMasterMkLst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211184702" sldId="2147484066"/>
            <pc:sldLayoutMk cId="933265338" sldId="2147484067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211184702" sldId="2147484066"/>
            <pc:sldLayoutMk cId="2665129944" sldId="2147484079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211184702" sldId="2147484066"/>
            <pc:sldLayoutMk cId="2187866161" sldId="2147484080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211184702" sldId="2147484066"/>
            <pc:sldLayoutMk cId="1914281900" sldId="2147484081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211184702" sldId="2147484066"/>
            <pc:sldLayoutMk cId="353865573" sldId="2147484082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211184702" sldId="2147484066"/>
            <pc:sldLayoutMk cId="133260150" sldId="2147484083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2211184702" sldId="2147484066"/>
            <pc:sldLayoutMk cId="1590856918" sldId="2147484084"/>
          </pc:sldLayoutMkLst>
        </pc:sldLayoutChg>
      </pc:sldMasterChg>
      <pc:sldMasterChg chg="modSldLayout">
        <pc:chgData name="Trond Winther | Lnett" userId="5f667486-3779-43c1-b610-902c7aaa42e0" providerId="ADAL" clId="{A2C2D679-82F2-40A9-9881-D360A3EA4FAC}" dt="2024-09-14T09:49:38.671" v="3734"/>
        <pc:sldMasterMkLst>
          <pc:docMk/>
          <pc:sldMasterMk cId="1451071118" sldId="2147484297"/>
        </pc:sldMasterMkLst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1451071118" sldId="2147484297"/>
            <pc:sldLayoutMk cId="823506908" sldId="2147484298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1451071118" sldId="2147484297"/>
            <pc:sldLayoutMk cId="791088534" sldId="2147484299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1451071118" sldId="2147484297"/>
            <pc:sldLayoutMk cId="1211075326" sldId="2147484303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1451071118" sldId="2147484297"/>
            <pc:sldLayoutMk cId="4227164295" sldId="2147484304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1451071118" sldId="2147484297"/>
            <pc:sldLayoutMk cId="239614777" sldId="2147484305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1451071118" sldId="2147484297"/>
            <pc:sldLayoutMk cId="1562320628" sldId="2147484306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1451071118" sldId="2147484297"/>
            <pc:sldLayoutMk cId="3957981551" sldId="2147484312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1451071118" sldId="2147484297"/>
            <pc:sldLayoutMk cId="2136942971" sldId="2147484313"/>
          </pc:sldLayoutMkLst>
        </pc:sldLayoutChg>
      </pc:sldMasterChg>
      <pc:sldMasterChg chg="del delSldLayout">
        <pc:chgData name="Trond Winther | Lnett" userId="5f667486-3779-43c1-b610-902c7aaa42e0" providerId="ADAL" clId="{A2C2D679-82F2-40A9-9881-D360A3EA4FAC}" dt="2024-09-14T09:30:35.652" v="3024" actId="47"/>
        <pc:sldMasterMkLst>
          <pc:docMk/>
          <pc:sldMasterMk cId="4057109988" sldId="2147484337"/>
        </pc:sldMasterMkLst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2703542694" sldId="2147484338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3657960418" sldId="2147484339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1935069305" sldId="2147484340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2823785671" sldId="2147484341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13430118" sldId="2147484342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976190032" sldId="2147484343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2963655293" sldId="2147484344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1001468876" sldId="2147484345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1210777545" sldId="2147484346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3176002160" sldId="2147484347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4120239585" sldId="2147484348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2155083742" sldId="2147484349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195218018" sldId="2147484350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3220552775" sldId="2147484351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1353869722" sldId="2147484352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3595924077" sldId="2147484353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1848186903" sldId="2147484354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2506390872" sldId="2147484355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2757478973" sldId="2147484356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3363711986" sldId="2147484357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3211396101" sldId="2147484358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829429103" sldId="2147484359"/>
          </pc:sldLayoutMkLst>
        </pc:sldLayoutChg>
        <pc:sldLayoutChg chg="del">
          <pc:chgData name="Trond Winther | Lnett" userId="5f667486-3779-43c1-b610-902c7aaa42e0" providerId="ADAL" clId="{A2C2D679-82F2-40A9-9881-D360A3EA4FAC}" dt="2024-09-14T09:30:35.652" v="3024" actId="47"/>
          <pc:sldLayoutMkLst>
            <pc:docMk/>
            <pc:sldMasterMk cId="4057109988" sldId="2147484337"/>
            <pc:sldLayoutMk cId="49695119" sldId="2147484360"/>
          </pc:sldLayoutMkLst>
        </pc:sldLayoutChg>
      </pc:sldMasterChg>
      <pc:sldMasterChg chg="modSldLayout">
        <pc:chgData name="Trond Winther | Lnett" userId="5f667486-3779-43c1-b610-902c7aaa42e0" providerId="ADAL" clId="{A2C2D679-82F2-40A9-9881-D360A3EA4FAC}" dt="2024-09-14T09:49:38.671" v="3734"/>
        <pc:sldMasterMkLst>
          <pc:docMk/>
          <pc:sldMasterMk cId="3505820130" sldId="2147484418"/>
        </pc:sldMasterMkLst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505820130" sldId="2147484418"/>
            <pc:sldLayoutMk cId="2334831707" sldId="2147484419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505820130" sldId="2147484418"/>
            <pc:sldLayoutMk cId="3078309082" sldId="2147484420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505820130" sldId="2147484418"/>
            <pc:sldLayoutMk cId="1383820331" sldId="2147484426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505820130" sldId="2147484418"/>
            <pc:sldLayoutMk cId="2476266255" sldId="2147484427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505820130" sldId="2147484418"/>
            <pc:sldLayoutMk cId="155680071" sldId="2147484428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505820130" sldId="2147484418"/>
            <pc:sldLayoutMk cId="2061286104" sldId="2147484429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505820130" sldId="2147484418"/>
            <pc:sldLayoutMk cId="3462868383" sldId="2147484435"/>
          </pc:sldLayoutMkLst>
        </pc:sldLayoutChg>
        <pc:sldLayoutChg chg="setBg">
          <pc:chgData name="Trond Winther | Lnett" userId="5f667486-3779-43c1-b610-902c7aaa42e0" providerId="ADAL" clId="{A2C2D679-82F2-40A9-9881-D360A3EA4FAC}" dt="2024-09-14T09:49:38.671" v="3734"/>
          <pc:sldLayoutMkLst>
            <pc:docMk/>
            <pc:sldMasterMk cId="3505820130" sldId="2147484418"/>
            <pc:sldLayoutMk cId="274438441" sldId="2147484436"/>
          </pc:sldLayoutMkLst>
        </pc:sldLayoutChg>
      </pc:sldMasterChg>
      <pc:sldMasterChg chg="del delSldLayout">
        <pc:chgData name="Trond Winther | Lnett" userId="5f667486-3779-43c1-b610-902c7aaa42e0" providerId="ADAL" clId="{A2C2D679-82F2-40A9-9881-D360A3EA4FAC}" dt="2024-09-14T09:27:15.403" v="3013" actId="47"/>
        <pc:sldMasterMkLst>
          <pc:docMk/>
          <pc:sldMasterMk cId="4180022849" sldId="2147484600"/>
        </pc:sldMasterMkLst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1509515608" sldId="2147484601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1226056593" sldId="2147484602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2952532031" sldId="2147484603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1481987833" sldId="2147484604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1331243454" sldId="2147484605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467688576" sldId="2147484606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637784282" sldId="2147484607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399898635" sldId="2147484608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2320289411" sldId="2147484609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2345963304" sldId="2147484610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336015556" sldId="2147484611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1699778813" sldId="2147484612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3385969628" sldId="2147484613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724190162" sldId="2147484614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2162367833" sldId="2147484615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2487368384" sldId="2147484616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1824447642" sldId="2147484617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2453618597" sldId="2147484618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4180022849" sldId="2147484600"/>
            <pc:sldLayoutMk cId="4060425108" sldId="2147484620"/>
          </pc:sldLayoutMkLst>
        </pc:sldLayoutChg>
      </pc:sldMasterChg>
      <pc:sldMasterChg chg="del delSldLayout">
        <pc:chgData name="Trond Winther | Lnett" userId="5f667486-3779-43c1-b610-902c7aaa42e0" providerId="ADAL" clId="{A2C2D679-82F2-40A9-9881-D360A3EA4FAC}" dt="2024-09-14T09:27:15.403" v="3013" actId="47"/>
        <pc:sldMasterMkLst>
          <pc:docMk/>
          <pc:sldMasterMk cId="1477782274" sldId="2147484621"/>
        </pc:sldMasterMkLst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2908075005" sldId="2147484622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2531105087" sldId="2147484623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3688818716" sldId="2147484624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1325701186" sldId="2147484625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2048560615" sldId="2147484626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849246394" sldId="2147484627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2005103009" sldId="2147484628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1177670258" sldId="2147484629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63384933" sldId="2147484630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1340595896" sldId="2147484631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2603102652" sldId="2147484632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2038029000" sldId="2147484633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414842098" sldId="2147484634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3100487002" sldId="2147484635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3259141608" sldId="2147484636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3038498829" sldId="2147484637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2227807820" sldId="2147484638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1339080210" sldId="2147484639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3584818882" sldId="2147484640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2966985627" sldId="2147484641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4218240860" sldId="2147484642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1586171559" sldId="2147484643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2109009106" sldId="2147484644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2119136458" sldId="2147484645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192822298" sldId="2147484646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3794409814" sldId="2147484647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4193134968" sldId="2147484648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472860802" sldId="2147484649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2356177486" sldId="2147484650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1118573145" sldId="2147484651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4199636817" sldId="2147484652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3772236886" sldId="2147484653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1325116542" sldId="2147484654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3178527414" sldId="2147484655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1806227611" sldId="2147484656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1687758394" sldId="2147484657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753061053" sldId="2147484658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530260514" sldId="2147484659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4039481782" sldId="2147484660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2322321230" sldId="2147484661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1506508221" sldId="2147484662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374324044" sldId="2147484663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4032706465" sldId="2147484664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3974927480" sldId="2147484665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5.403" v="3013" actId="47"/>
          <pc:sldLayoutMkLst>
            <pc:docMk/>
            <pc:sldMasterMk cId="1477782274" sldId="2147484621"/>
            <pc:sldLayoutMk cId="420184258" sldId="2147484704"/>
          </pc:sldLayoutMkLst>
        </pc:sldLayoutChg>
      </pc:sldMasterChg>
      <pc:sldMasterChg chg="del delSldLayout">
        <pc:chgData name="Trond Winther | Lnett" userId="5f667486-3779-43c1-b610-902c7aaa42e0" providerId="ADAL" clId="{A2C2D679-82F2-40A9-9881-D360A3EA4FAC}" dt="2024-09-14T09:27:10.623" v="3012" actId="47"/>
        <pc:sldMasterMkLst>
          <pc:docMk/>
          <pc:sldMasterMk cId="2275326944" sldId="2147484666"/>
        </pc:sldMasterMkLst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1765466440" sldId="2147484667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1903248659" sldId="2147484668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2464431259" sldId="2147484669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488469933" sldId="2147484670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2248344633" sldId="2147484671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174741156" sldId="2147484672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3969953434" sldId="2147484673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14504913" sldId="2147484674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3333842564" sldId="2147484675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3160648113" sldId="2147484676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2912760296" sldId="2147484677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3340665677" sldId="2147484678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2597114445" sldId="2147484679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932730247" sldId="2147484680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3892470134" sldId="2147484681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3269880029" sldId="2147484682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1551944671" sldId="2147484683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1470092862" sldId="2147484684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2812252806" sldId="2147484685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172649252" sldId="2147484686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1481341936" sldId="2147484687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2248397420" sldId="2147484688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3664264144" sldId="2147484689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343721286" sldId="2147484690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2944223297" sldId="2147484691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2510524401" sldId="2147484692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1261665110" sldId="2147484693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59378042" sldId="2147484694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43295291" sldId="2147484695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1117523888" sldId="2147484696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2087880061" sldId="2147484697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2049006983" sldId="2147484698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3244431370" sldId="2147484699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3039717456" sldId="2147484700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4080407263" sldId="2147484701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836039844" sldId="2147484702"/>
          </pc:sldLayoutMkLst>
        </pc:sldLayoutChg>
        <pc:sldLayoutChg chg="del">
          <pc:chgData name="Trond Winther | Lnett" userId="5f667486-3779-43c1-b610-902c7aaa42e0" providerId="ADAL" clId="{A2C2D679-82F2-40A9-9881-D360A3EA4FAC}" dt="2024-09-14T09:27:10.623" v="3012" actId="47"/>
          <pc:sldLayoutMkLst>
            <pc:docMk/>
            <pc:sldMasterMk cId="2275326944" sldId="2147484666"/>
            <pc:sldLayoutMk cId="550392513" sldId="2147484703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6F22926-CD98-4BE9-988E-BA0925543EBB}" type="doc">
      <dgm:prSet loTypeId="urn:microsoft.com/office/officeart/2005/8/layout/pyramid4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C1AAA6B3-2F28-4113-ADAC-95E731431C77}">
      <dgm:prSet phldrT="[Tekst]"/>
      <dgm:spPr>
        <a:xfrm>
          <a:off x="3209239" y="0"/>
          <a:ext cx="2767355" cy="2767355"/>
        </a:xfrm>
        <a:prstGeom prst="triangle">
          <a:avLst/>
        </a:pr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r>
            <a:rPr lang="nb-NO" b="1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Struktur</a:t>
          </a:r>
        </a:p>
      </dgm:t>
    </dgm:pt>
    <dgm:pt modelId="{F8D244C4-AEED-4447-A6E3-67C24FF6D621}" type="parTrans" cxnId="{8B3478B4-3DF6-4A44-8BBF-14E3F9A1B681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C6B7A6ED-3075-40EA-ADC5-6AFCC504D90B}" type="sibTrans" cxnId="{8B3478B4-3DF6-4A44-8BBF-14E3F9A1B681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8CAA7C7F-A6ED-4A7D-95F1-441A6A4169FF}">
      <dgm:prSet phldrT="[Tekst]" custT="1"/>
      <dgm:spPr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 spcFirstLastPara="0" vert="horz" wrap="square" lIns="60960" tIns="60960" rIns="60960" bIns="60960" numCol="1" spcCol="1270" anchor="ctr" anchorCtr="0"/>
        <a:lstStyle/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rgbClr val="000000"/>
              </a:solidFill>
              <a:latin typeface="Bierstadt Display" panose="020B0004020202020204" pitchFamily="34" charset="0"/>
              <a:ea typeface="+mn-ea"/>
              <a:cs typeface="+mn-cs"/>
            </a:rPr>
            <a:t>Kultur</a:t>
          </a:r>
        </a:p>
      </dgm:t>
    </dgm:pt>
    <dgm:pt modelId="{7D67D992-0AD6-4CB7-B4AE-2B04DB4D8726}" type="parTrans" cxnId="{6239E65F-DF97-4CB4-825B-4B33C16556C4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E2154A38-9458-4853-94BD-73205E37316A}" type="sibTrans" cxnId="{6239E65F-DF97-4CB4-825B-4B33C16556C4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FEF97A1D-757D-45DA-9C90-5C9108BF15BC}">
      <dgm:prSet phldrT="[Tekst]"/>
      <dgm:spPr>
        <a:xfrm rot="10800000">
          <a:off x="3209239" y="2767355"/>
          <a:ext cx="2767355" cy="2767355"/>
        </a:xfrm>
        <a:prstGeom prst="triangle">
          <a:avLst/>
        </a:prstGeom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r>
            <a:rPr lang="nb-NO" b="1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Lederskap</a:t>
          </a:r>
        </a:p>
      </dgm:t>
    </dgm:pt>
    <dgm:pt modelId="{76BA953A-F5AB-4BF3-A63D-F90287B636B5}" type="parTrans" cxnId="{7845034C-450E-4E6A-9D47-99C3B2EC1669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73F84361-1A94-40D7-A8E1-778A472B4B44}" type="sibTrans" cxnId="{7845034C-450E-4E6A-9D47-99C3B2EC1669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31F19D8E-E253-4628-A81C-D75963BD8542}">
      <dgm:prSet phldrT="[Tekst]" custT="1"/>
      <dgm:spPr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 spcFirstLastPara="0" vert="horz" wrap="square" lIns="60960" tIns="60960" rIns="60960" bIns="60960" numCol="1" spcCol="1270" anchor="ctr" anchorCtr="0"/>
        <a:lstStyle/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b="1" kern="1200" dirty="0">
            <a:solidFill>
              <a:srgbClr val="FFFFFF"/>
            </a:solidFill>
            <a:latin typeface="Bierstadt Display" panose="020B0004020202020204" pitchFamily="34" charset="0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Kompetanse</a:t>
          </a:r>
        </a:p>
      </dgm:t>
    </dgm:pt>
    <dgm:pt modelId="{44A089E0-C96D-46DB-B594-0F2FA17A2D3B}" type="parTrans" cxnId="{CC487439-F0D3-4913-AA81-106918BCDE70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21C485A4-B455-4B51-8842-814FB3B30E8B}" type="sibTrans" cxnId="{CC487439-F0D3-4913-AA81-106918BCDE70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1AF7DE65-113F-400B-9EAF-7250D03D23DE}" type="pres">
      <dgm:prSet presAssocID="{56F22926-CD98-4BE9-988E-BA0925543EBB}" presName="compositeShape" presStyleCnt="0">
        <dgm:presLayoutVars>
          <dgm:chMax val="9"/>
          <dgm:dir/>
          <dgm:resizeHandles val="exact"/>
        </dgm:presLayoutVars>
      </dgm:prSet>
      <dgm:spPr/>
    </dgm:pt>
    <dgm:pt modelId="{30C4ACFF-7C62-438C-9BB7-E13DCE8FE78C}" type="pres">
      <dgm:prSet presAssocID="{56F22926-CD98-4BE9-988E-BA0925543EBB}" presName="triangle1" presStyleLbl="node1" presStyleIdx="0" presStyleCnt="4">
        <dgm:presLayoutVars>
          <dgm:bulletEnabled val="1"/>
        </dgm:presLayoutVars>
      </dgm:prSet>
      <dgm:spPr/>
    </dgm:pt>
    <dgm:pt modelId="{3FD16DB5-0453-4839-B302-068F003279A3}" type="pres">
      <dgm:prSet presAssocID="{56F22926-CD98-4BE9-988E-BA0925543EBB}" presName="triangle2" presStyleLbl="node1" presStyleIdx="1" presStyleCnt="4">
        <dgm:presLayoutVars>
          <dgm:bulletEnabled val="1"/>
        </dgm:presLayoutVars>
      </dgm:prSet>
      <dgm:spPr>
        <a:xfrm>
          <a:off x="1825562" y="2767355"/>
          <a:ext cx="2767355" cy="2767355"/>
        </a:xfrm>
        <a:prstGeom prst="triangle">
          <a:avLst/>
        </a:prstGeom>
      </dgm:spPr>
    </dgm:pt>
    <dgm:pt modelId="{4233A895-07F8-4207-A392-DC07BACD0E3C}" type="pres">
      <dgm:prSet presAssocID="{56F22926-CD98-4BE9-988E-BA0925543EBB}" presName="triangle3" presStyleLbl="node1" presStyleIdx="2" presStyleCnt="4">
        <dgm:presLayoutVars>
          <dgm:bulletEnabled val="1"/>
        </dgm:presLayoutVars>
      </dgm:prSet>
      <dgm:spPr/>
    </dgm:pt>
    <dgm:pt modelId="{76F5C1DA-46E3-4032-A1E7-DD7A06F22DCF}" type="pres">
      <dgm:prSet presAssocID="{56F22926-CD98-4BE9-988E-BA0925543EBB}" presName="triangle4" presStyleLbl="node1" presStyleIdx="3" presStyleCnt="4">
        <dgm:presLayoutVars>
          <dgm:bulletEnabled val="1"/>
        </dgm:presLayoutVars>
      </dgm:prSet>
      <dgm:spPr>
        <a:xfrm>
          <a:off x="4592917" y="2767355"/>
          <a:ext cx="2767355" cy="2767355"/>
        </a:xfrm>
        <a:prstGeom prst="triangle">
          <a:avLst/>
        </a:prstGeom>
      </dgm:spPr>
    </dgm:pt>
  </dgm:ptLst>
  <dgm:cxnLst>
    <dgm:cxn modelId="{2498ED1A-1734-4574-A688-B62C90A195F6}" type="presOf" srcId="{8CAA7C7F-A6ED-4A7D-95F1-441A6A4169FF}" destId="{3FD16DB5-0453-4839-B302-068F003279A3}" srcOrd="0" destOrd="0" presId="urn:microsoft.com/office/officeart/2005/8/layout/pyramid4"/>
    <dgm:cxn modelId="{E8ADE12D-0C02-46B9-B997-70890D8511BD}" type="presOf" srcId="{31F19D8E-E253-4628-A81C-D75963BD8542}" destId="{76F5C1DA-46E3-4032-A1E7-DD7A06F22DCF}" srcOrd="0" destOrd="0" presId="urn:microsoft.com/office/officeart/2005/8/layout/pyramid4"/>
    <dgm:cxn modelId="{CC487439-F0D3-4913-AA81-106918BCDE70}" srcId="{56F22926-CD98-4BE9-988E-BA0925543EBB}" destId="{31F19D8E-E253-4628-A81C-D75963BD8542}" srcOrd="3" destOrd="0" parTransId="{44A089E0-C96D-46DB-B594-0F2FA17A2D3B}" sibTransId="{21C485A4-B455-4B51-8842-814FB3B30E8B}"/>
    <dgm:cxn modelId="{6239E65F-DF97-4CB4-825B-4B33C16556C4}" srcId="{56F22926-CD98-4BE9-988E-BA0925543EBB}" destId="{8CAA7C7F-A6ED-4A7D-95F1-441A6A4169FF}" srcOrd="1" destOrd="0" parTransId="{7D67D992-0AD6-4CB7-B4AE-2B04DB4D8726}" sibTransId="{E2154A38-9458-4853-94BD-73205E37316A}"/>
    <dgm:cxn modelId="{7845034C-450E-4E6A-9D47-99C3B2EC1669}" srcId="{56F22926-CD98-4BE9-988E-BA0925543EBB}" destId="{FEF97A1D-757D-45DA-9C90-5C9108BF15BC}" srcOrd="2" destOrd="0" parTransId="{76BA953A-F5AB-4BF3-A63D-F90287B636B5}" sibTransId="{73F84361-1A94-40D7-A8E1-778A472B4B44}"/>
    <dgm:cxn modelId="{BB61B985-2E1E-493F-835D-E88A161638CE}" type="presOf" srcId="{C1AAA6B3-2F28-4113-ADAC-95E731431C77}" destId="{30C4ACFF-7C62-438C-9BB7-E13DCE8FE78C}" srcOrd="0" destOrd="0" presId="urn:microsoft.com/office/officeart/2005/8/layout/pyramid4"/>
    <dgm:cxn modelId="{8B3478B4-3DF6-4A44-8BBF-14E3F9A1B681}" srcId="{56F22926-CD98-4BE9-988E-BA0925543EBB}" destId="{C1AAA6B3-2F28-4113-ADAC-95E731431C77}" srcOrd="0" destOrd="0" parTransId="{F8D244C4-AEED-4447-A6E3-67C24FF6D621}" sibTransId="{C6B7A6ED-3075-40EA-ADC5-6AFCC504D90B}"/>
    <dgm:cxn modelId="{CC8B34F9-F45F-4E02-ADA4-23E5DEAAFD51}" type="presOf" srcId="{FEF97A1D-757D-45DA-9C90-5C9108BF15BC}" destId="{4233A895-07F8-4207-A392-DC07BACD0E3C}" srcOrd="0" destOrd="0" presId="urn:microsoft.com/office/officeart/2005/8/layout/pyramid4"/>
    <dgm:cxn modelId="{61AC2FFE-FB38-443B-89F6-C7F4503FC73C}" type="presOf" srcId="{56F22926-CD98-4BE9-988E-BA0925543EBB}" destId="{1AF7DE65-113F-400B-9EAF-7250D03D23DE}" srcOrd="0" destOrd="0" presId="urn:microsoft.com/office/officeart/2005/8/layout/pyramid4"/>
    <dgm:cxn modelId="{A3BC80B7-0264-4D7B-A428-A0550B004224}" type="presParOf" srcId="{1AF7DE65-113F-400B-9EAF-7250D03D23DE}" destId="{30C4ACFF-7C62-438C-9BB7-E13DCE8FE78C}" srcOrd="0" destOrd="0" presId="urn:microsoft.com/office/officeart/2005/8/layout/pyramid4"/>
    <dgm:cxn modelId="{6F4BC3BA-29CE-4A85-BA92-3A5105127107}" type="presParOf" srcId="{1AF7DE65-113F-400B-9EAF-7250D03D23DE}" destId="{3FD16DB5-0453-4839-B302-068F003279A3}" srcOrd="1" destOrd="0" presId="urn:microsoft.com/office/officeart/2005/8/layout/pyramid4"/>
    <dgm:cxn modelId="{067A6A2B-D972-4606-8EF6-5044FA8CC574}" type="presParOf" srcId="{1AF7DE65-113F-400B-9EAF-7250D03D23DE}" destId="{4233A895-07F8-4207-A392-DC07BACD0E3C}" srcOrd="2" destOrd="0" presId="urn:microsoft.com/office/officeart/2005/8/layout/pyramid4"/>
    <dgm:cxn modelId="{153C80DF-B3FA-478D-B8DA-D81EA97494CF}" type="presParOf" srcId="{1AF7DE65-113F-400B-9EAF-7250D03D23DE}" destId="{76F5C1DA-46E3-4032-A1E7-DD7A06F22DCF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6F22926-CD98-4BE9-988E-BA0925543EBB}" type="doc">
      <dgm:prSet loTypeId="urn:microsoft.com/office/officeart/2005/8/layout/pyramid4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C1AAA6B3-2F28-4113-ADAC-95E731431C77}">
      <dgm:prSet phldrT="[Tekst]"/>
      <dgm:spPr>
        <a:xfrm>
          <a:off x="3209239" y="0"/>
          <a:ext cx="2767355" cy="2767355"/>
        </a:xfrm>
        <a:prstGeom prst="triangle">
          <a:avLst/>
        </a:pr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r>
            <a:rPr lang="nb-NO" b="1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Struktur</a:t>
          </a:r>
        </a:p>
      </dgm:t>
    </dgm:pt>
    <dgm:pt modelId="{F8D244C4-AEED-4447-A6E3-67C24FF6D621}" type="parTrans" cxnId="{8B3478B4-3DF6-4A44-8BBF-14E3F9A1B681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C6B7A6ED-3075-40EA-ADC5-6AFCC504D90B}" type="sibTrans" cxnId="{8B3478B4-3DF6-4A44-8BBF-14E3F9A1B681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8CAA7C7F-A6ED-4A7D-95F1-441A6A4169FF}">
      <dgm:prSet phldrT="[Tekst]" custT="1"/>
      <dgm:spPr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 spcFirstLastPara="0" vert="horz" wrap="square" lIns="60960" tIns="60960" rIns="60960" bIns="60960" numCol="1" spcCol="1270" anchor="ctr" anchorCtr="0"/>
        <a:lstStyle/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rgbClr val="000000"/>
              </a:solidFill>
              <a:latin typeface="Bierstadt Display" panose="020B0004020202020204" pitchFamily="34" charset="0"/>
              <a:ea typeface="+mn-ea"/>
              <a:cs typeface="+mn-cs"/>
            </a:rPr>
            <a:t>Kultur</a:t>
          </a:r>
        </a:p>
      </dgm:t>
    </dgm:pt>
    <dgm:pt modelId="{7D67D992-0AD6-4CB7-B4AE-2B04DB4D8726}" type="parTrans" cxnId="{6239E65F-DF97-4CB4-825B-4B33C16556C4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E2154A38-9458-4853-94BD-73205E37316A}" type="sibTrans" cxnId="{6239E65F-DF97-4CB4-825B-4B33C16556C4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FEF97A1D-757D-45DA-9C90-5C9108BF15BC}">
      <dgm:prSet phldrT="[Tekst]"/>
      <dgm:spPr>
        <a:xfrm rot="10800000">
          <a:off x="3209239" y="2767355"/>
          <a:ext cx="2767355" cy="2767355"/>
        </a:xfrm>
        <a:prstGeom prst="triangle">
          <a:avLst/>
        </a:prstGeom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nb-NO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r>
            <a:rPr lang="nb-NO" b="1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Lederskap</a:t>
          </a:r>
        </a:p>
      </dgm:t>
    </dgm:pt>
    <dgm:pt modelId="{76BA953A-F5AB-4BF3-A63D-F90287B636B5}" type="parTrans" cxnId="{7845034C-450E-4E6A-9D47-99C3B2EC1669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73F84361-1A94-40D7-A8E1-778A472B4B44}" type="sibTrans" cxnId="{7845034C-450E-4E6A-9D47-99C3B2EC1669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31F19D8E-E253-4628-A81C-D75963BD8542}">
      <dgm:prSet phldrT="[Tekst]" custT="1"/>
      <dgm:spPr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 spcFirstLastPara="0" vert="horz" wrap="square" lIns="60960" tIns="60960" rIns="60960" bIns="60960" numCol="1" spcCol="1270" anchor="ctr" anchorCtr="0"/>
        <a:lstStyle/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b="1" kern="1200" dirty="0">
            <a:solidFill>
              <a:srgbClr val="FFFFFF"/>
            </a:solidFill>
            <a:latin typeface="Bierstadt Display" panose="020B0004020202020204" pitchFamily="34" charset="0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Kompetanse</a:t>
          </a:r>
        </a:p>
      </dgm:t>
    </dgm:pt>
    <dgm:pt modelId="{44A089E0-C96D-46DB-B594-0F2FA17A2D3B}" type="parTrans" cxnId="{CC487439-F0D3-4913-AA81-106918BCDE70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21C485A4-B455-4B51-8842-814FB3B30E8B}" type="sibTrans" cxnId="{CC487439-F0D3-4913-AA81-106918BCDE70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1AF7DE65-113F-400B-9EAF-7250D03D23DE}" type="pres">
      <dgm:prSet presAssocID="{56F22926-CD98-4BE9-988E-BA0925543EBB}" presName="compositeShape" presStyleCnt="0">
        <dgm:presLayoutVars>
          <dgm:chMax val="9"/>
          <dgm:dir/>
          <dgm:resizeHandles val="exact"/>
        </dgm:presLayoutVars>
      </dgm:prSet>
      <dgm:spPr/>
    </dgm:pt>
    <dgm:pt modelId="{30C4ACFF-7C62-438C-9BB7-E13DCE8FE78C}" type="pres">
      <dgm:prSet presAssocID="{56F22926-CD98-4BE9-988E-BA0925543EBB}" presName="triangle1" presStyleLbl="node1" presStyleIdx="0" presStyleCnt="4">
        <dgm:presLayoutVars>
          <dgm:bulletEnabled val="1"/>
        </dgm:presLayoutVars>
      </dgm:prSet>
      <dgm:spPr/>
    </dgm:pt>
    <dgm:pt modelId="{3FD16DB5-0453-4839-B302-068F003279A3}" type="pres">
      <dgm:prSet presAssocID="{56F22926-CD98-4BE9-988E-BA0925543EBB}" presName="triangle2" presStyleLbl="node1" presStyleIdx="1" presStyleCnt="4">
        <dgm:presLayoutVars>
          <dgm:bulletEnabled val="1"/>
        </dgm:presLayoutVars>
      </dgm:prSet>
      <dgm:spPr>
        <a:xfrm>
          <a:off x="1825562" y="2767355"/>
          <a:ext cx="2767355" cy="2767355"/>
        </a:xfrm>
        <a:prstGeom prst="triangle">
          <a:avLst/>
        </a:prstGeom>
      </dgm:spPr>
    </dgm:pt>
    <dgm:pt modelId="{4233A895-07F8-4207-A392-DC07BACD0E3C}" type="pres">
      <dgm:prSet presAssocID="{56F22926-CD98-4BE9-988E-BA0925543EBB}" presName="triangle3" presStyleLbl="node1" presStyleIdx="2" presStyleCnt="4">
        <dgm:presLayoutVars>
          <dgm:bulletEnabled val="1"/>
        </dgm:presLayoutVars>
      </dgm:prSet>
      <dgm:spPr/>
    </dgm:pt>
    <dgm:pt modelId="{76F5C1DA-46E3-4032-A1E7-DD7A06F22DCF}" type="pres">
      <dgm:prSet presAssocID="{56F22926-CD98-4BE9-988E-BA0925543EBB}" presName="triangle4" presStyleLbl="node1" presStyleIdx="3" presStyleCnt="4">
        <dgm:presLayoutVars>
          <dgm:bulletEnabled val="1"/>
        </dgm:presLayoutVars>
      </dgm:prSet>
      <dgm:spPr>
        <a:xfrm>
          <a:off x="4592917" y="2767355"/>
          <a:ext cx="2767355" cy="2767355"/>
        </a:xfrm>
        <a:prstGeom prst="triangle">
          <a:avLst/>
        </a:prstGeom>
      </dgm:spPr>
    </dgm:pt>
  </dgm:ptLst>
  <dgm:cxnLst>
    <dgm:cxn modelId="{2498ED1A-1734-4574-A688-B62C90A195F6}" type="presOf" srcId="{8CAA7C7F-A6ED-4A7D-95F1-441A6A4169FF}" destId="{3FD16DB5-0453-4839-B302-068F003279A3}" srcOrd="0" destOrd="0" presId="urn:microsoft.com/office/officeart/2005/8/layout/pyramid4"/>
    <dgm:cxn modelId="{E8ADE12D-0C02-46B9-B997-70890D8511BD}" type="presOf" srcId="{31F19D8E-E253-4628-A81C-D75963BD8542}" destId="{76F5C1DA-46E3-4032-A1E7-DD7A06F22DCF}" srcOrd="0" destOrd="0" presId="urn:microsoft.com/office/officeart/2005/8/layout/pyramid4"/>
    <dgm:cxn modelId="{CC487439-F0D3-4913-AA81-106918BCDE70}" srcId="{56F22926-CD98-4BE9-988E-BA0925543EBB}" destId="{31F19D8E-E253-4628-A81C-D75963BD8542}" srcOrd="3" destOrd="0" parTransId="{44A089E0-C96D-46DB-B594-0F2FA17A2D3B}" sibTransId="{21C485A4-B455-4B51-8842-814FB3B30E8B}"/>
    <dgm:cxn modelId="{6239E65F-DF97-4CB4-825B-4B33C16556C4}" srcId="{56F22926-CD98-4BE9-988E-BA0925543EBB}" destId="{8CAA7C7F-A6ED-4A7D-95F1-441A6A4169FF}" srcOrd="1" destOrd="0" parTransId="{7D67D992-0AD6-4CB7-B4AE-2B04DB4D8726}" sibTransId="{E2154A38-9458-4853-94BD-73205E37316A}"/>
    <dgm:cxn modelId="{7845034C-450E-4E6A-9D47-99C3B2EC1669}" srcId="{56F22926-CD98-4BE9-988E-BA0925543EBB}" destId="{FEF97A1D-757D-45DA-9C90-5C9108BF15BC}" srcOrd="2" destOrd="0" parTransId="{76BA953A-F5AB-4BF3-A63D-F90287B636B5}" sibTransId="{73F84361-1A94-40D7-A8E1-778A472B4B44}"/>
    <dgm:cxn modelId="{BB61B985-2E1E-493F-835D-E88A161638CE}" type="presOf" srcId="{C1AAA6B3-2F28-4113-ADAC-95E731431C77}" destId="{30C4ACFF-7C62-438C-9BB7-E13DCE8FE78C}" srcOrd="0" destOrd="0" presId="urn:microsoft.com/office/officeart/2005/8/layout/pyramid4"/>
    <dgm:cxn modelId="{8B3478B4-3DF6-4A44-8BBF-14E3F9A1B681}" srcId="{56F22926-CD98-4BE9-988E-BA0925543EBB}" destId="{C1AAA6B3-2F28-4113-ADAC-95E731431C77}" srcOrd="0" destOrd="0" parTransId="{F8D244C4-AEED-4447-A6E3-67C24FF6D621}" sibTransId="{C6B7A6ED-3075-40EA-ADC5-6AFCC504D90B}"/>
    <dgm:cxn modelId="{CC8B34F9-F45F-4E02-ADA4-23E5DEAAFD51}" type="presOf" srcId="{FEF97A1D-757D-45DA-9C90-5C9108BF15BC}" destId="{4233A895-07F8-4207-A392-DC07BACD0E3C}" srcOrd="0" destOrd="0" presId="urn:microsoft.com/office/officeart/2005/8/layout/pyramid4"/>
    <dgm:cxn modelId="{61AC2FFE-FB38-443B-89F6-C7F4503FC73C}" type="presOf" srcId="{56F22926-CD98-4BE9-988E-BA0925543EBB}" destId="{1AF7DE65-113F-400B-9EAF-7250D03D23DE}" srcOrd="0" destOrd="0" presId="urn:microsoft.com/office/officeart/2005/8/layout/pyramid4"/>
    <dgm:cxn modelId="{A3BC80B7-0264-4D7B-A428-A0550B004224}" type="presParOf" srcId="{1AF7DE65-113F-400B-9EAF-7250D03D23DE}" destId="{30C4ACFF-7C62-438C-9BB7-E13DCE8FE78C}" srcOrd="0" destOrd="0" presId="urn:microsoft.com/office/officeart/2005/8/layout/pyramid4"/>
    <dgm:cxn modelId="{6F4BC3BA-29CE-4A85-BA92-3A5105127107}" type="presParOf" srcId="{1AF7DE65-113F-400B-9EAF-7250D03D23DE}" destId="{3FD16DB5-0453-4839-B302-068F003279A3}" srcOrd="1" destOrd="0" presId="urn:microsoft.com/office/officeart/2005/8/layout/pyramid4"/>
    <dgm:cxn modelId="{067A6A2B-D972-4606-8EF6-5044FA8CC574}" type="presParOf" srcId="{1AF7DE65-113F-400B-9EAF-7250D03D23DE}" destId="{4233A895-07F8-4207-A392-DC07BACD0E3C}" srcOrd="2" destOrd="0" presId="urn:microsoft.com/office/officeart/2005/8/layout/pyramid4"/>
    <dgm:cxn modelId="{153C80DF-B3FA-478D-B8DA-D81EA97494CF}" type="presParOf" srcId="{1AF7DE65-113F-400B-9EAF-7250D03D23DE}" destId="{76F5C1DA-46E3-4032-A1E7-DD7A06F22DCF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6F22926-CD98-4BE9-988E-BA0925543EBB}" type="doc">
      <dgm:prSet loTypeId="urn:microsoft.com/office/officeart/2005/8/layout/pyramid4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C1AAA6B3-2F28-4113-ADAC-95E731431C77}">
      <dgm:prSet phldrT="[Tekst]"/>
      <dgm:spPr>
        <a:xfrm>
          <a:off x="3209239" y="0"/>
          <a:ext cx="2767355" cy="2767355"/>
        </a:xfrm>
        <a:prstGeom prst="triangle">
          <a:avLst/>
        </a:pr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r>
            <a:rPr lang="nb-NO" b="1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Struktur</a:t>
          </a:r>
        </a:p>
      </dgm:t>
    </dgm:pt>
    <dgm:pt modelId="{F8D244C4-AEED-4447-A6E3-67C24FF6D621}" type="parTrans" cxnId="{8B3478B4-3DF6-4A44-8BBF-14E3F9A1B681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C6B7A6ED-3075-40EA-ADC5-6AFCC504D90B}" type="sibTrans" cxnId="{8B3478B4-3DF6-4A44-8BBF-14E3F9A1B681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8CAA7C7F-A6ED-4A7D-95F1-441A6A4169FF}">
      <dgm:prSet phldrT="[Tekst]" custT="1"/>
      <dgm:spPr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 spcFirstLastPara="0" vert="horz" wrap="square" lIns="60960" tIns="60960" rIns="60960" bIns="60960" numCol="1" spcCol="1270" anchor="ctr" anchorCtr="0"/>
        <a:lstStyle/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rgbClr val="000000"/>
              </a:solidFill>
              <a:latin typeface="Bierstadt Display" panose="020B0004020202020204" pitchFamily="34" charset="0"/>
              <a:ea typeface="+mn-ea"/>
              <a:cs typeface="+mn-cs"/>
            </a:rPr>
            <a:t>Kultur</a:t>
          </a:r>
        </a:p>
      </dgm:t>
    </dgm:pt>
    <dgm:pt modelId="{7D67D992-0AD6-4CB7-B4AE-2B04DB4D8726}" type="parTrans" cxnId="{6239E65F-DF97-4CB4-825B-4B33C16556C4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E2154A38-9458-4853-94BD-73205E37316A}" type="sibTrans" cxnId="{6239E65F-DF97-4CB4-825B-4B33C16556C4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FEF97A1D-757D-45DA-9C90-5C9108BF15BC}">
      <dgm:prSet phldrT="[Tekst]"/>
      <dgm:spPr>
        <a:xfrm rot="10800000">
          <a:off x="3209239" y="2767355"/>
          <a:ext cx="2767355" cy="2767355"/>
        </a:xfrm>
        <a:prstGeom prst="triangle">
          <a:avLst/>
        </a:prstGeom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r>
            <a:rPr lang="nb-NO" b="1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Lederskap</a:t>
          </a:r>
        </a:p>
      </dgm:t>
    </dgm:pt>
    <dgm:pt modelId="{76BA953A-F5AB-4BF3-A63D-F90287B636B5}" type="parTrans" cxnId="{7845034C-450E-4E6A-9D47-99C3B2EC1669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73F84361-1A94-40D7-A8E1-778A472B4B44}" type="sibTrans" cxnId="{7845034C-450E-4E6A-9D47-99C3B2EC1669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31F19D8E-E253-4628-A81C-D75963BD8542}">
      <dgm:prSet phldrT="[Tekst]" custT="1"/>
      <dgm:spPr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 spcFirstLastPara="0" vert="horz" wrap="square" lIns="60960" tIns="60960" rIns="60960" bIns="60960" numCol="1" spcCol="1270" anchor="ctr" anchorCtr="0"/>
        <a:lstStyle/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b="1" kern="1200" dirty="0">
            <a:solidFill>
              <a:srgbClr val="FFFFFF"/>
            </a:solidFill>
            <a:latin typeface="Bierstadt Display" panose="020B0004020202020204" pitchFamily="34" charset="0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Kompetanse</a:t>
          </a:r>
        </a:p>
      </dgm:t>
    </dgm:pt>
    <dgm:pt modelId="{44A089E0-C96D-46DB-B594-0F2FA17A2D3B}" type="parTrans" cxnId="{CC487439-F0D3-4913-AA81-106918BCDE70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21C485A4-B455-4B51-8842-814FB3B30E8B}" type="sibTrans" cxnId="{CC487439-F0D3-4913-AA81-106918BCDE70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1AF7DE65-113F-400B-9EAF-7250D03D23DE}" type="pres">
      <dgm:prSet presAssocID="{56F22926-CD98-4BE9-988E-BA0925543EBB}" presName="compositeShape" presStyleCnt="0">
        <dgm:presLayoutVars>
          <dgm:chMax val="9"/>
          <dgm:dir/>
          <dgm:resizeHandles val="exact"/>
        </dgm:presLayoutVars>
      </dgm:prSet>
      <dgm:spPr/>
    </dgm:pt>
    <dgm:pt modelId="{30C4ACFF-7C62-438C-9BB7-E13DCE8FE78C}" type="pres">
      <dgm:prSet presAssocID="{56F22926-CD98-4BE9-988E-BA0925543EBB}" presName="triangle1" presStyleLbl="node1" presStyleIdx="0" presStyleCnt="4">
        <dgm:presLayoutVars>
          <dgm:bulletEnabled val="1"/>
        </dgm:presLayoutVars>
      </dgm:prSet>
      <dgm:spPr/>
    </dgm:pt>
    <dgm:pt modelId="{3FD16DB5-0453-4839-B302-068F003279A3}" type="pres">
      <dgm:prSet presAssocID="{56F22926-CD98-4BE9-988E-BA0925543EBB}" presName="triangle2" presStyleLbl="node1" presStyleIdx="1" presStyleCnt="4">
        <dgm:presLayoutVars>
          <dgm:bulletEnabled val="1"/>
        </dgm:presLayoutVars>
      </dgm:prSet>
      <dgm:spPr>
        <a:xfrm>
          <a:off x="1825562" y="2767355"/>
          <a:ext cx="2767355" cy="2767355"/>
        </a:xfrm>
        <a:prstGeom prst="triangle">
          <a:avLst/>
        </a:prstGeom>
      </dgm:spPr>
    </dgm:pt>
    <dgm:pt modelId="{4233A895-07F8-4207-A392-DC07BACD0E3C}" type="pres">
      <dgm:prSet presAssocID="{56F22926-CD98-4BE9-988E-BA0925543EBB}" presName="triangle3" presStyleLbl="node1" presStyleIdx="2" presStyleCnt="4">
        <dgm:presLayoutVars>
          <dgm:bulletEnabled val="1"/>
        </dgm:presLayoutVars>
      </dgm:prSet>
      <dgm:spPr/>
    </dgm:pt>
    <dgm:pt modelId="{76F5C1DA-46E3-4032-A1E7-DD7A06F22DCF}" type="pres">
      <dgm:prSet presAssocID="{56F22926-CD98-4BE9-988E-BA0925543EBB}" presName="triangle4" presStyleLbl="node1" presStyleIdx="3" presStyleCnt="4">
        <dgm:presLayoutVars>
          <dgm:bulletEnabled val="1"/>
        </dgm:presLayoutVars>
      </dgm:prSet>
      <dgm:spPr>
        <a:xfrm>
          <a:off x="4592917" y="2767355"/>
          <a:ext cx="2767355" cy="2767355"/>
        </a:xfrm>
        <a:prstGeom prst="triangle">
          <a:avLst/>
        </a:prstGeom>
      </dgm:spPr>
    </dgm:pt>
  </dgm:ptLst>
  <dgm:cxnLst>
    <dgm:cxn modelId="{2498ED1A-1734-4574-A688-B62C90A195F6}" type="presOf" srcId="{8CAA7C7F-A6ED-4A7D-95F1-441A6A4169FF}" destId="{3FD16DB5-0453-4839-B302-068F003279A3}" srcOrd="0" destOrd="0" presId="urn:microsoft.com/office/officeart/2005/8/layout/pyramid4"/>
    <dgm:cxn modelId="{E8ADE12D-0C02-46B9-B997-70890D8511BD}" type="presOf" srcId="{31F19D8E-E253-4628-A81C-D75963BD8542}" destId="{76F5C1DA-46E3-4032-A1E7-DD7A06F22DCF}" srcOrd="0" destOrd="0" presId="urn:microsoft.com/office/officeart/2005/8/layout/pyramid4"/>
    <dgm:cxn modelId="{CC487439-F0D3-4913-AA81-106918BCDE70}" srcId="{56F22926-CD98-4BE9-988E-BA0925543EBB}" destId="{31F19D8E-E253-4628-A81C-D75963BD8542}" srcOrd="3" destOrd="0" parTransId="{44A089E0-C96D-46DB-B594-0F2FA17A2D3B}" sibTransId="{21C485A4-B455-4B51-8842-814FB3B30E8B}"/>
    <dgm:cxn modelId="{6239E65F-DF97-4CB4-825B-4B33C16556C4}" srcId="{56F22926-CD98-4BE9-988E-BA0925543EBB}" destId="{8CAA7C7F-A6ED-4A7D-95F1-441A6A4169FF}" srcOrd="1" destOrd="0" parTransId="{7D67D992-0AD6-4CB7-B4AE-2B04DB4D8726}" sibTransId="{E2154A38-9458-4853-94BD-73205E37316A}"/>
    <dgm:cxn modelId="{7845034C-450E-4E6A-9D47-99C3B2EC1669}" srcId="{56F22926-CD98-4BE9-988E-BA0925543EBB}" destId="{FEF97A1D-757D-45DA-9C90-5C9108BF15BC}" srcOrd="2" destOrd="0" parTransId="{76BA953A-F5AB-4BF3-A63D-F90287B636B5}" sibTransId="{73F84361-1A94-40D7-A8E1-778A472B4B44}"/>
    <dgm:cxn modelId="{BB61B985-2E1E-493F-835D-E88A161638CE}" type="presOf" srcId="{C1AAA6B3-2F28-4113-ADAC-95E731431C77}" destId="{30C4ACFF-7C62-438C-9BB7-E13DCE8FE78C}" srcOrd="0" destOrd="0" presId="urn:microsoft.com/office/officeart/2005/8/layout/pyramid4"/>
    <dgm:cxn modelId="{8B3478B4-3DF6-4A44-8BBF-14E3F9A1B681}" srcId="{56F22926-CD98-4BE9-988E-BA0925543EBB}" destId="{C1AAA6B3-2F28-4113-ADAC-95E731431C77}" srcOrd="0" destOrd="0" parTransId="{F8D244C4-AEED-4447-A6E3-67C24FF6D621}" sibTransId="{C6B7A6ED-3075-40EA-ADC5-6AFCC504D90B}"/>
    <dgm:cxn modelId="{CC8B34F9-F45F-4E02-ADA4-23E5DEAAFD51}" type="presOf" srcId="{FEF97A1D-757D-45DA-9C90-5C9108BF15BC}" destId="{4233A895-07F8-4207-A392-DC07BACD0E3C}" srcOrd="0" destOrd="0" presId="urn:microsoft.com/office/officeart/2005/8/layout/pyramid4"/>
    <dgm:cxn modelId="{61AC2FFE-FB38-443B-89F6-C7F4503FC73C}" type="presOf" srcId="{56F22926-CD98-4BE9-988E-BA0925543EBB}" destId="{1AF7DE65-113F-400B-9EAF-7250D03D23DE}" srcOrd="0" destOrd="0" presId="urn:microsoft.com/office/officeart/2005/8/layout/pyramid4"/>
    <dgm:cxn modelId="{A3BC80B7-0264-4D7B-A428-A0550B004224}" type="presParOf" srcId="{1AF7DE65-113F-400B-9EAF-7250D03D23DE}" destId="{30C4ACFF-7C62-438C-9BB7-E13DCE8FE78C}" srcOrd="0" destOrd="0" presId="urn:microsoft.com/office/officeart/2005/8/layout/pyramid4"/>
    <dgm:cxn modelId="{6F4BC3BA-29CE-4A85-BA92-3A5105127107}" type="presParOf" srcId="{1AF7DE65-113F-400B-9EAF-7250D03D23DE}" destId="{3FD16DB5-0453-4839-B302-068F003279A3}" srcOrd="1" destOrd="0" presId="urn:microsoft.com/office/officeart/2005/8/layout/pyramid4"/>
    <dgm:cxn modelId="{067A6A2B-D972-4606-8EF6-5044FA8CC574}" type="presParOf" srcId="{1AF7DE65-113F-400B-9EAF-7250D03D23DE}" destId="{4233A895-07F8-4207-A392-DC07BACD0E3C}" srcOrd="2" destOrd="0" presId="urn:microsoft.com/office/officeart/2005/8/layout/pyramid4"/>
    <dgm:cxn modelId="{153C80DF-B3FA-478D-B8DA-D81EA97494CF}" type="presParOf" srcId="{1AF7DE65-113F-400B-9EAF-7250D03D23DE}" destId="{76F5C1DA-46E3-4032-A1E7-DD7A06F22DCF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6F22926-CD98-4BE9-988E-BA0925543EBB}" type="doc">
      <dgm:prSet loTypeId="urn:microsoft.com/office/officeart/2005/8/layout/pyramid4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C1AAA6B3-2F28-4113-ADAC-95E731431C77}">
      <dgm:prSet phldrT="[Tekst]"/>
      <dgm:spPr>
        <a:xfrm>
          <a:off x="3209239" y="0"/>
          <a:ext cx="2767355" cy="2767355"/>
        </a:xfrm>
        <a:prstGeom prst="triangle">
          <a:avLst/>
        </a:pr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r>
            <a:rPr lang="nb-NO" b="1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Struktur</a:t>
          </a:r>
        </a:p>
      </dgm:t>
    </dgm:pt>
    <dgm:pt modelId="{F8D244C4-AEED-4447-A6E3-67C24FF6D621}" type="parTrans" cxnId="{8B3478B4-3DF6-4A44-8BBF-14E3F9A1B681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C6B7A6ED-3075-40EA-ADC5-6AFCC504D90B}" type="sibTrans" cxnId="{8B3478B4-3DF6-4A44-8BBF-14E3F9A1B681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8CAA7C7F-A6ED-4A7D-95F1-441A6A4169FF}">
      <dgm:prSet phldrT="[Tekst]" custT="1"/>
      <dgm:spPr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 spcFirstLastPara="0" vert="horz" wrap="square" lIns="60960" tIns="60960" rIns="60960" bIns="60960" numCol="1" spcCol="1270" anchor="ctr" anchorCtr="0"/>
        <a:lstStyle/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rgbClr val="000000"/>
              </a:solidFill>
              <a:latin typeface="Bierstadt Display" panose="020B0004020202020204" pitchFamily="34" charset="0"/>
              <a:ea typeface="+mn-ea"/>
              <a:cs typeface="+mn-cs"/>
            </a:rPr>
            <a:t>Kultur</a:t>
          </a:r>
        </a:p>
      </dgm:t>
    </dgm:pt>
    <dgm:pt modelId="{7D67D992-0AD6-4CB7-B4AE-2B04DB4D8726}" type="parTrans" cxnId="{6239E65F-DF97-4CB4-825B-4B33C16556C4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E2154A38-9458-4853-94BD-73205E37316A}" type="sibTrans" cxnId="{6239E65F-DF97-4CB4-825B-4B33C16556C4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FEF97A1D-757D-45DA-9C90-5C9108BF15BC}">
      <dgm:prSet phldrT="[Tekst]"/>
      <dgm:spPr>
        <a:xfrm rot="10800000">
          <a:off x="3209239" y="2767355"/>
          <a:ext cx="2767355" cy="2767355"/>
        </a:xfrm>
        <a:prstGeom prst="triangle">
          <a:avLst/>
        </a:prstGeom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r>
            <a:rPr lang="nb-NO" b="1" dirty="0">
              <a:solidFill>
                <a:srgbClr val="FFFFFF"/>
              </a:solidFill>
              <a:latin typeface="Bierstadt Display" panose="020B0004020202020204" pitchFamily="34" charset="0"/>
              <a:ea typeface="+mn-ea"/>
              <a:cs typeface="+mn-cs"/>
            </a:rPr>
            <a:t>Lederskap</a:t>
          </a:r>
        </a:p>
      </dgm:t>
    </dgm:pt>
    <dgm:pt modelId="{76BA953A-F5AB-4BF3-A63D-F90287B636B5}" type="parTrans" cxnId="{7845034C-450E-4E6A-9D47-99C3B2EC1669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73F84361-1A94-40D7-A8E1-778A472B4B44}" type="sibTrans" cxnId="{7845034C-450E-4E6A-9D47-99C3B2EC1669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31F19D8E-E253-4628-A81C-D75963BD8542}">
      <dgm:prSet phldrT="[Tekst]" custT="1"/>
      <dgm:spPr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 spcFirstLastPara="0" vert="horz" wrap="square" lIns="60960" tIns="60960" rIns="60960" bIns="60960" numCol="1" spcCol="1270" anchor="ctr" anchorCtr="0"/>
        <a:lstStyle/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b="1" kern="1200" dirty="0">
            <a:solidFill>
              <a:srgbClr val="FFFFFF"/>
            </a:solidFill>
            <a:latin typeface="Bierstadt Display" panose="020B0004020202020204" pitchFamily="34" charset="0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Kompetanse</a:t>
          </a:r>
        </a:p>
      </dgm:t>
    </dgm:pt>
    <dgm:pt modelId="{44A089E0-C96D-46DB-B594-0F2FA17A2D3B}" type="parTrans" cxnId="{CC487439-F0D3-4913-AA81-106918BCDE70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21C485A4-B455-4B51-8842-814FB3B30E8B}" type="sibTrans" cxnId="{CC487439-F0D3-4913-AA81-106918BCDE70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1AF7DE65-113F-400B-9EAF-7250D03D23DE}" type="pres">
      <dgm:prSet presAssocID="{56F22926-CD98-4BE9-988E-BA0925543EBB}" presName="compositeShape" presStyleCnt="0">
        <dgm:presLayoutVars>
          <dgm:chMax val="9"/>
          <dgm:dir/>
          <dgm:resizeHandles val="exact"/>
        </dgm:presLayoutVars>
      </dgm:prSet>
      <dgm:spPr/>
    </dgm:pt>
    <dgm:pt modelId="{30C4ACFF-7C62-438C-9BB7-E13DCE8FE78C}" type="pres">
      <dgm:prSet presAssocID="{56F22926-CD98-4BE9-988E-BA0925543EBB}" presName="triangle1" presStyleLbl="node1" presStyleIdx="0" presStyleCnt="4">
        <dgm:presLayoutVars>
          <dgm:bulletEnabled val="1"/>
        </dgm:presLayoutVars>
      </dgm:prSet>
      <dgm:spPr/>
    </dgm:pt>
    <dgm:pt modelId="{3FD16DB5-0453-4839-B302-068F003279A3}" type="pres">
      <dgm:prSet presAssocID="{56F22926-CD98-4BE9-988E-BA0925543EBB}" presName="triangle2" presStyleLbl="node1" presStyleIdx="1" presStyleCnt="4">
        <dgm:presLayoutVars>
          <dgm:bulletEnabled val="1"/>
        </dgm:presLayoutVars>
      </dgm:prSet>
      <dgm:spPr>
        <a:xfrm>
          <a:off x="1825562" y="2767355"/>
          <a:ext cx="2767355" cy="2767355"/>
        </a:xfrm>
        <a:prstGeom prst="triangle">
          <a:avLst/>
        </a:prstGeom>
      </dgm:spPr>
    </dgm:pt>
    <dgm:pt modelId="{4233A895-07F8-4207-A392-DC07BACD0E3C}" type="pres">
      <dgm:prSet presAssocID="{56F22926-CD98-4BE9-988E-BA0925543EBB}" presName="triangle3" presStyleLbl="node1" presStyleIdx="2" presStyleCnt="4">
        <dgm:presLayoutVars>
          <dgm:bulletEnabled val="1"/>
        </dgm:presLayoutVars>
      </dgm:prSet>
      <dgm:spPr/>
    </dgm:pt>
    <dgm:pt modelId="{76F5C1DA-46E3-4032-A1E7-DD7A06F22DCF}" type="pres">
      <dgm:prSet presAssocID="{56F22926-CD98-4BE9-988E-BA0925543EBB}" presName="triangle4" presStyleLbl="node1" presStyleIdx="3" presStyleCnt="4">
        <dgm:presLayoutVars>
          <dgm:bulletEnabled val="1"/>
        </dgm:presLayoutVars>
      </dgm:prSet>
      <dgm:spPr>
        <a:xfrm>
          <a:off x="4592917" y="2767355"/>
          <a:ext cx="2767355" cy="2767355"/>
        </a:xfrm>
        <a:prstGeom prst="triangle">
          <a:avLst/>
        </a:prstGeom>
      </dgm:spPr>
    </dgm:pt>
  </dgm:ptLst>
  <dgm:cxnLst>
    <dgm:cxn modelId="{2498ED1A-1734-4574-A688-B62C90A195F6}" type="presOf" srcId="{8CAA7C7F-A6ED-4A7D-95F1-441A6A4169FF}" destId="{3FD16DB5-0453-4839-B302-068F003279A3}" srcOrd="0" destOrd="0" presId="urn:microsoft.com/office/officeart/2005/8/layout/pyramid4"/>
    <dgm:cxn modelId="{E8ADE12D-0C02-46B9-B997-70890D8511BD}" type="presOf" srcId="{31F19D8E-E253-4628-A81C-D75963BD8542}" destId="{76F5C1DA-46E3-4032-A1E7-DD7A06F22DCF}" srcOrd="0" destOrd="0" presId="urn:microsoft.com/office/officeart/2005/8/layout/pyramid4"/>
    <dgm:cxn modelId="{CC487439-F0D3-4913-AA81-106918BCDE70}" srcId="{56F22926-CD98-4BE9-988E-BA0925543EBB}" destId="{31F19D8E-E253-4628-A81C-D75963BD8542}" srcOrd="3" destOrd="0" parTransId="{44A089E0-C96D-46DB-B594-0F2FA17A2D3B}" sibTransId="{21C485A4-B455-4B51-8842-814FB3B30E8B}"/>
    <dgm:cxn modelId="{6239E65F-DF97-4CB4-825B-4B33C16556C4}" srcId="{56F22926-CD98-4BE9-988E-BA0925543EBB}" destId="{8CAA7C7F-A6ED-4A7D-95F1-441A6A4169FF}" srcOrd="1" destOrd="0" parTransId="{7D67D992-0AD6-4CB7-B4AE-2B04DB4D8726}" sibTransId="{E2154A38-9458-4853-94BD-73205E37316A}"/>
    <dgm:cxn modelId="{7845034C-450E-4E6A-9D47-99C3B2EC1669}" srcId="{56F22926-CD98-4BE9-988E-BA0925543EBB}" destId="{FEF97A1D-757D-45DA-9C90-5C9108BF15BC}" srcOrd="2" destOrd="0" parTransId="{76BA953A-F5AB-4BF3-A63D-F90287B636B5}" sibTransId="{73F84361-1A94-40D7-A8E1-778A472B4B44}"/>
    <dgm:cxn modelId="{BB61B985-2E1E-493F-835D-E88A161638CE}" type="presOf" srcId="{C1AAA6B3-2F28-4113-ADAC-95E731431C77}" destId="{30C4ACFF-7C62-438C-9BB7-E13DCE8FE78C}" srcOrd="0" destOrd="0" presId="urn:microsoft.com/office/officeart/2005/8/layout/pyramid4"/>
    <dgm:cxn modelId="{8B3478B4-3DF6-4A44-8BBF-14E3F9A1B681}" srcId="{56F22926-CD98-4BE9-988E-BA0925543EBB}" destId="{C1AAA6B3-2F28-4113-ADAC-95E731431C77}" srcOrd="0" destOrd="0" parTransId="{F8D244C4-AEED-4447-A6E3-67C24FF6D621}" sibTransId="{C6B7A6ED-3075-40EA-ADC5-6AFCC504D90B}"/>
    <dgm:cxn modelId="{CC8B34F9-F45F-4E02-ADA4-23E5DEAAFD51}" type="presOf" srcId="{FEF97A1D-757D-45DA-9C90-5C9108BF15BC}" destId="{4233A895-07F8-4207-A392-DC07BACD0E3C}" srcOrd="0" destOrd="0" presId="urn:microsoft.com/office/officeart/2005/8/layout/pyramid4"/>
    <dgm:cxn modelId="{61AC2FFE-FB38-443B-89F6-C7F4503FC73C}" type="presOf" srcId="{56F22926-CD98-4BE9-988E-BA0925543EBB}" destId="{1AF7DE65-113F-400B-9EAF-7250D03D23DE}" srcOrd="0" destOrd="0" presId="urn:microsoft.com/office/officeart/2005/8/layout/pyramid4"/>
    <dgm:cxn modelId="{A3BC80B7-0264-4D7B-A428-A0550B004224}" type="presParOf" srcId="{1AF7DE65-113F-400B-9EAF-7250D03D23DE}" destId="{30C4ACFF-7C62-438C-9BB7-E13DCE8FE78C}" srcOrd="0" destOrd="0" presId="urn:microsoft.com/office/officeart/2005/8/layout/pyramid4"/>
    <dgm:cxn modelId="{6F4BC3BA-29CE-4A85-BA92-3A5105127107}" type="presParOf" srcId="{1AF7DE65-113F-400B-9EAF-7250D03D23DE}" destId="{3FD16DB5-0453-4839-B302-068F003279A3}" srcOrd="1" destOrd="0" presId="urn:microsoft.com/office/officeart/2005/8/layout/pyramid4"/>
    <dgm:cxn modelId="{067A6A2B-D972-4606-8EF6-5044FA8CC574}" type="presParOf" srcId="{1AF7DE65-113F-400B-9EAF-7250D03D23DE}" destId="{4233A895-07F8-4207-A392-DC07BACD0E3C}" srcOrd="2" destOrd="0" presId="urn:microsoft.com/office/officeart/2005/8/layout/pyramid4"/>
    <dgm:cxn modelId="{153C80DF-B3FA-478D-B8DA-D81EA97494CF}" type="presParOf" srcId="{1AF7DE65-113F-400B-9EAF-7250D03D23DE}" destId="{76F5C1DA-46E3-4032-A1E7-DD7A06F22DCF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6F22926-CD98-4BE9-988E-BA0925543EBB}" type="doc">
      <dgm:prSet loTypeId="urn:microsoft.com/office/officeart/2005/8/layout/pyramid4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C1AAA6B3-2F28-4113-ADAC-95E731431C77}">
      <dgm:prSet phldrT="[Tekst]"/>
      <dgm:spPr>
        <a:xfrm>
          <a:off x="3209239" y="0"/>
          <a:ext cx="2767355" cy="2767355"/>
        </a:xfrm>
        <a:prstGeom prst="triangle">
          <a:avLst/>
        </a:pr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r>
            <a:rPr lang="nb-NO" b="1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Struktur</a:t>
          </a:r>
        </a:p>
      </dgm:t>
    </dgm:pt>
    <dgm:pt modelId="{F8D244C4-AEED-4447-A6E3-67C24FF6D621}" type="parTrans" cxnId="{8B3478B4-3DF6-4A44-8BBF-14E3F9A1B681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C6B7A6ED-3075-40EA-ADC5-6AFCC504D90B}" type="sibTrans" cxnId="{8B3478B4-3DF6-4A44-8BBF-14E3F9A1B681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8CAA7C7F-A6ED-4A7D-95F1-441A6A4169FF}">
      <dgm:prSet phldrT="[Tekst]" custT="1"/>
      <dgm:spPr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 spcFirstLastPara="0" vert="horz" wrap="square" lIns="60960" tIns="60960" rIns="60960" bIns="60960" numCol="1" spcCol="1270" anchor="ctr" anchorCtr="0"/>
        <a:lstStyle/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rgbClr val="000000"/>
              </a:solidFill>
              <a:latin typeface="Bierstadt Display" panose="020B0004020202020204" pitchFamily="34" charset="0"/>
              <a:ea typeface="+mn-ea"/>
              <a:cs typeface="+mn-cs"/>
            </a:rPr>
            <a:t>Kultur</a:t>
          </a:r>
        </a:p>
      </dgm:t>
    </dgm:pt>
    <dgm:pt modelId="{7D67D992-0AD6-4CB7-B4AE-2B04DB4D8726}" type="parTrans" cxnId="{6239E65F-DF97-4CB4-825B-4B33C16556C4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E2154A38-9458-4853-94BD-73205E37316A}" type="sibTrans" cxnId="{6239E65F-DF97-4CB4-825B-4B33C16556C4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FEF97A1D-757D-45DA-9C90-5C9108BF15BC}">
      <dgm:prSet phldrT="[Tekst]"/>
      <dgm:spPr>
        <a:xfrm rot="10800000">
          <a:off x="3209239" y="2767355"/>
          <a:ext cx="2767355" cy="2767355"/>
        </a:xfrm>
        <a:prstGeom prst="triangle">
          <a:avLst/>
        </a:prstGeom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endParaRPr lang="nb-NO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>
            <a:buNone/>
          </a:pPr>
          <a:r>
            <a:rPr lang="nb-NO" b="1" dirty="0">
              <a:solidFill>
                <a:srgbClr val="FFFFFF"/>
              </a:solidFill>
              <a:latin typeface="Bierstadt Display" panose="020B0004020202020204" pitchFamily="34" charset="0"/>
              <a:ea typeface="+mn-ea"/>
              <a:cs typeface="+mn-cs"/>
            </a:rPr>
            <a:t>Lederskap</a:t>
          </a:r>
        </a:p>
      </dgm:t>
    </dgm:pt>
    <dgm:pt modelId="{76BA953A-F5AB-4BF3-A63D-F90287B636B5}" type="parTrans" cxnId="{7845034C-450E-4E6A-9D47-99C3B2EC1669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73F84361-1A94-40D7-A8E1-778A472B4B44}" type="sibTrans" cxnId="{7845034C-450E-4E6A-9D47-99C3B2EC1669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31F19D8E-E253-4628-A81C-D75963BD8542}">
      <dgm:prSet phldrT="[Tekst]" custT="1"/>
      <dgm:spPr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gm:spPr>
      <dgm:t>
        <a:bodyPr spcFirstLastPara="0" vert="horz" wrap="square" lIns="60960" tIns="60960" rIns="60960" bIns="60960" numCol="1" spcCol="1270" anchor="ctr" anchorCtr="0"/>
        <a:lstStyle/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b="1" kern="1200" dirty="0">
            <a:solidFill>
              <a:srgbClr val="FFFFFF"/>
            </a:solidFill>
            <a:latin typeface="Bierstadt Display" panose="020B0004020202020204" pitchFamily="34" charset="0"/>
            <a:ea typeface="+mn-ea"/>
            <a:cs typeface="+mn-cs"/>
          </a:endParaRPr>
        </a:p>
        <a:p>
          <a:pPr marL="0"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Kompetanse</a:t>
          </a:r>
        </a:p>
      </dgm:t>
    </dgm:pt>
    <dgm:pt modelId="{44A089E0-C96D-46DB-B594-0F2FA17A2D3B}" type="parTrans" cxnId="{CC487439-F0D3-4913-AA81-106918BCDE70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21C485A4-B455-4B51-8842-814FB3B30E8B}" type="sibTrans" cxnId="{CC487439-F0D3-4913-AA81-106918BCDE70}">
      <dgm:prSet/>
      <dgm:spPr/>
      <dgm:t>
        <a:bodyPr/>
        <a:lstStyle/>
        <a:p>
          <a:endParaRPr lang="nb-NO">
            <a:solidFill>
              <a:schemeClr val="bg1"/>
            </a:solidFill>
          </a:endParaRPr>
        </a:p>
      </dgm:t>
    </dgm:pt>
    <dgm:pt modelId="{1AF7DE65-113F-400B-9EAF-7250D03D23DE}" type="pres">
      <dgm:prSet presAssocID="{56F22926-CD98-4BE9-988E-BA0925543EBB}" presName="compositeShape" presStyleCnt="0">
        <dgm:presLayoutVars>
          <dgm:chMax val="9"/>
          <dgm:dir/>
          <dgm:resizeHandles val="exact"/>
        </dgm:presLayoutVars>
      </dgm:prSet>
      <dgm:spPr/>
    </dgm:pt>
    <dgm:pt modelId="{30C4ACFF-7C62-438C-9BB7-E13DCE8FE78C}" type="pres">
      <dgm:prSet presAssocID="{56F22926-CD98-4BE9-988E-BA0925543EBB}" presName="triangle1" presStyleLbl="node1" presStyleIdx="0" presStyleCnt="4">
        <dgm:presLayoutVars>
          <dgm:bulletEnabled val="1"/>
        </dgm:presLayoutVars>
      </dgm:prSet>
      <dgm:spPr/>
    </dgm:pt>
    <dgm:pt modelId="{3FD16DB5-0453-4839-B302-068F003279A3}" type="pres">
      <dgm:prSet presAssocID="{56F22926-CD98-4BE9-988E-BA0925543EBB}" presName="triangle2" presStyleLbl="node1" presStyleIdx="1" presStyleCnt="4">
        <dgm:presLayoutVars>
          <dgm:bulletEnabled val="1"/>
        </dgm:presLayoutVars>
      </dgm:prSet>
      <dgm:spPr>
        <a:xfrm>
          <a:off x="1825562" y="2767355"/>
          <a:ext cx="2767355" cy="2767355"/>
        </a:xfrm>
        <a:prstGeom prst="triangle">
          <a:avLst/>
        </a:prstGeom>
      </dgm:spPr>
    </dgm:pt>
    <dgm:pt modelId="{4233A895-07F8-4207-A392-DC07BACD0E3C}" type="pres">
      <dgm:prSet presAssocID="{56F22926-CD98-4BE9-988E-BA0925543EBB}" presName="triangle3" presStyleLbl="node1" presStyleIdx="2" presStyleCnt="4">
        <dgm:presLayoutVars>
          <dgm:bulletEnabled val="1"/>
        </dgm:presLayoutVars>
      </dgm:prSet>
      <dgm:spPr/>
    </dgm:pt>
    <dgm:pt modelId="{76F5C1DA-46E3-4032-A1E7-DD7A06F22DCF}" type="pres">
      <dgm:prSet presAssocID="{56F22926-CD98-4BE9-988E-BA0925543EBB}" presName="triangle4" presStyleLbl="node1" presStyleIdx="3" presStyleCnt="4">
        <dgm:presLayoutVars>
          <dgm:bulletEnabled val="1"/>
        </dgm:presLayoutVars>
      </dgm:prSet>
      <dgm:spPr>
        <a:xfrm>
          <a:off x="4592917" y="2767355"/>
          <a:ext cx="2767355" cy="2767355"/>
        </a:xfrm>
        <a:prstGeom prst="triangle">
          <a:avLst/>
        </a:prstGeom>
      </dgm:spPr>
    </dgm:pt>
  </dgm:ptLst>
  <dgm:cxnLst>
    <dgm:cxn modelId="{2498ED1A-1734-4574-A688-B62C90A195F6}" type="presOf" srcId="{8CAA7C7F-A6ED-4A7D-95F1-441A6A4169FF}" destId="{3FD16DB5-0453-4839-B302-068F003279A3}" srcOrd="0" destOrd="0" presId="urn:microsoft.com/office/officeart/2005/8/layout/pyramid4"/>
    <dgm:cxn modelId="{E8ADE12D-0C02-46B9-B997-70890D8511BD}" type="presOf" srcId="{31F19D8E-E253-4628-A81C-D75963BD8542}" destId="{76F5C1DA-46E3-4032-A1E7-DD7A06F22DCF}" srcOrd="0" destOrd="0" presId="urn:microsoft.com/office/officeart/2005/8/layout/pyramid4"/>
    <dgm:cxn modelId="{CC487439-F0D3-4913-AA81-106918BCDE70}" srcId="{56F22926-CD98-4BE9-988E-BA0925543EBB}" destId="{31F19D8E-E253-4628-A81C-D75963BD8542}" srcOrd="3" destOrd="0" parTransId="{44A089E0-C96D-46DB-B594-0F2FA17A2D3B}" sibTransId="{21C485A4-B455-4B51-8842-814FB3B30E8B}"/>
    <dgm:cxn modelId="{6239E65F-DF97-4CB4-825B-4B33C16556C4}" srcId="{56F22926-CD98-4BE9-988E-BA0925543EBB}" destId="{8CAA7C7F-A6ED-4A7D-95F1-441A6A4169FF}" srcOrd="1" destOrd="0" parTransId="{7D67D992-0AD6-4CB7-B4AE-2B04DB4D8726}" sibTransId="{E2154A38-9458-4853-94BD-73205E37316A}"/>
    <dgm:cxn modelId="{7845034C-450E-4E6A-9D47-99C3B2EC1669}" srcId="{56F22926-CD98-4BE9-988E-BA0925543EBB}" destId="{FEF97A1D-757D-45DA-9C90-5C9108BF15BC}" srcOrd="2" destOrd="0" parTransId="{76BA953A-F5AB-4BF3-A63D-F90287B636B5}" sibTransId="{73F84361-1A94-40D7-A8E1-778A472B4B44}"/>
    <dgm:cxn modelId="{BB61B985-2E1E-493F-835D-E88A161638CE}" type="presOf" srcId="{C1AAA6B3-2F28-4113-ADAC-95E731431C77}" destId="{30C4ACFF-7C62-438C-9BB7-E13DCE8FE78C}" srcOrd="0" destOrd="0" presId="urn:microsoft.com/office/officeart/2005/8/layout/pyramid4"/>
    <dgm:cxn modelId="{8B3478B4-3DF6-4A44-8BBF-14E3F9A1B681}" srcId="{56F22926-CD98-4BE9-988E-BA0925543EBB}" destId="{C1AAA6B3-2F28-4113-ADAC-95E731431C77}" srcOrd="0" destOrd="0" parTransId="{F8D244C4-AEED-4447-A6E3-67C24FF6D621}" sibTransId="{C6B7A6ED-3075-40EA-ADC5-6AFCC504D90B}"/>
    <dgm:cxn modelId="{CC8B34F9-F45F-4E02-ADA4-23E5DEAAFD51}" type="presOf" srcId="{FEF97A1D-757D-45DA-9C90-5C9108BF15BC}" destId="{4233A895-07F8-4207-A392-DC07BACD0E3C}" srcOrd="0" destOrd="0" presId="urn:microsoft.com/office/officeart/2005/8/layout/pyramid4"/>
    <dgm:cxn modelId="{61AC2FFE-FB38-443B-89F6-C7F4503FC73C}" type="presOf" srcId="{56F22926-CD98-4BE9-988E-BA0925543EBB}" destId="{1AF7DE65-113F-400B-9EAF-7250D03D23DE}" srcOrd="0" destOrd="0" presId="urn:microsoft.com/office/officeart/2005/8/layout/pyramid4"/>
    <dgm:cxn modelId="{A3BC80B7-0264-4D7B-A428-A0550B004224}" type="presParOf" srcId="{1AF7DE65-113F-400B-9EAF-7250D03D23DE}" destId="{30C4ACFF-7C62-438C-9BB7-E13DCE8FE78C}" srcOrd="0" destOrd="0" presId="urn:microsoft.com/office/officeart/2005/8/layout/pyramid4"/>
    <dgm:cxn modelId="{6F4BC3BA-29CE-4A85-BA92-3A5105127107}" type="presParOf" srcId="{1AF7DE65-113F-400B-9EAF-7250D03D23DE}" destId="{3FD16DB5-0453-4839-B302-068F003279A3}" srcOrd="1" destOrd="0" presId="urn:microsoft.com/office/officeart/2005/8/layout/pyramid4"/>
    <dgm:cxn modelId="{067A6A2B-D972-4606-8EF6-5044FA8CC574}" type="presParOf" srcId="{1AF7DE65-113F-400B-9EAF-7250D03D23DE}" destId="{4233A895-07F8-4207-A392-DC07BACD0E3C}" srcOrd="2" destOrd="0" presId="urn:microsoft.com/office/officeart/2005/8/layout/pyramid4"/>
    <dgm:cxn modelId="{153C80DF-B3FA-478D-B8DA-D81EA97494CF}" type="presParOf" srcId="{1AF7DE65-113F-400B-9EAF-7250D03D23DE}" destId="{76F5C1DA-46E3-4032-A1E7-DD7A06F22DCF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C4ACFF-7C62-438C-9BB7-E13DCE8FE78C}">
      <dsp:nvSpPr>
        <dsp:cNvPr id="0" name=""/>
        <dsp:cNvSpPr/>
      </dsp:nvSpPr>
      <dsp:spPr>
        <a:xfrm>
          <a:off x="3209239" y="0"/>
          <a:ext cx="2767355" cy="2767355"/>
        </a:xfrm>
        <a:prstGeom prst="triangle">
          <a:avLst/>
        </a:pr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Struktur</a:t>
          </a:r>
        </a:p>
      </dsp:txBody>
      <dsp:txXfrm>
        <a:off x="3901078" y="1383678"/>
        <a:ext cx="1383677" cy="1383677"/>
      </dsp:txXfrm>
    </dsp:sp>
    <dsp:sp modelId="{3FD16DB5-0453-4839-B302-068F003279A3}">
      <dsp:nvSpPr>
        <dsp:cNvPr id="0" name=""/>
        <dsp:cNvSpPr/>
      </dsp:nvSpPr>
      <dsp:spPr>
        <a:xfrm>
          <a:off x="1825562" y="2767355"/>
          <a:ext cx="2767355" cy="2767355"/>
        </a:xfrm>
        <a:prstGeom prst="triangle">
          <a:avLst/>
        </a:prstGeom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rgbClr val="000000"/>
              </a:solidFill>
              <a:latin typeface="Bierstadt Display" panose="020B0004020202020204" pitchFamily="34" charset="0"/>
              <a:ea typeface="+mn-ea"/>
              <a:cs typeface="+mn-cs"/>
            </a:rPr>
            <a:t>Kultur</a:t>
          </a:r>
        </a:p>
      </dsp:txBody>
      <dsp:txXfrm>
        <a:off x="2517401" y="4151033"/>
        <a:ext cx="1383677" cy="1383677"/>
      </dsp:txXfrm>
    </dsp:sp>
    <dsp:sp modelId="{4233A895-07F8-4207-A392-DC07BACD0E3C}">
      <dsp:nvSpPr>
        <dsp:cNvPr id="0" name=""/>
        <dsp:cNvSpPr/>
      </dsp:nvSpPr>
      <dsp:spPr>
        <a:xfrm rot="10800000">
          <a:off x="3209239" y="2767355"/>
          <a:ext cx="2767355" cy="2767355"/>
        </a:xfrm>
        <a:prstGeom prst="triangle">
          <a:avLst/>
        </a:prstGeom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Lederskap</a:t>
          </a:r>
        </a:p>
      </dsp:txBody>
      <dsp:txXfrm rot="10800000">
        <a:off x="3901078" y="2767355"/>
        <a:ext cx="1383677" cy="1383677"/>
      </dsp:txXfrm>
    </dsp:sp>
    <dsp:sp modelId="{76F5C1DA-46E3-4032-A1E7-DD7A06F22DCF}">
      <dsp:nvSpPr>
        <dsp:cNvPr id="0" name=""/>
        <dsp:cNvSpPr/>
      </dsp:nvSpPr>
      <dsp:spPr>
        <a:xfrm>
          <a:off x="4592917" y="2767355"/>
          <a:ext cx="2767355" cy="2767355"/>
        </a:xfrm>
        <a:prstGeom prst="triangle">
          <a:avLst/>
        </a:prstGeom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b="1" kern="1200" dirty="0">
            <a:solidFill>
              <a:srgbClr val="FFFFFF"/>
            </a:solidFill>
            <a:latin typeface="Bierstadt Display" panose="020B0004020202020204" pitchFamily="34" charset="0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Kompetanse</a:t>
          </a:r>
        </a:p>
      </dsp:txBody>
      <dsp:txXfrm>
        <a:off x="5284756" y="4151033"/>
        <a:ext cx="1383677" cy="13836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C4ACFF-7C62-438C-9BB7-E13DCE8FE78C}">
      <dsp:nvSpPr>
        <dsp:cNvPr id="0" name=""/>
        <dsp:cNvSpPr/>
      </dsp:nvSpPr>
      <dsp:spPr>
        <a:xfrm>
          <a:off x="3209239" y="0"/>
          <a:ext cx="2767355" cy="2767355"/>
        </a:xfrm>
        <a:prstGeom prst="triangle">
          <a:avLst/>
        </a:pr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Struktur</a:t>
          </a:r>
        </a:p>
      </dsp:txBody>
      <dsp:txXfrm>
        <a:off x="3901078" y="1383678"/>
        <a:ext cx="1383677" cy="1383677"/>
      </dsp:txXfrm>
    </dsp:sp>
    <dsp:sp modelId="{3FD16DB5-0453-4839-B302-068F003279A3}">
      <dsp:nvSpPr>
        <dsp:cNvPr id="0" name=""/>
        <dsp:cNvSpPr/>
      </dsp:nvSpPr>
      <dsp:spPr>
        <a:xfrm>
          <a:off x="1825562" y="2767355"/>
          <a:ext cx="2767355" cy="2767355"/>
        </a:xfrm>
        <a:prstGeom prst="triangle">
          <a:avLst/>
        </a:prstGeom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rgbClr val="000000"/>
              </a:solidFill>
              <a:latin typeface="Bierstadt Display" panose="020B0004020202020204" pitchFamily="34" charset="0"/>
              <a:ea typeface="+mn-ea"/>
              <a:cs typeface="+mn-cs"/>
            </a:rPr>
            <a:t>Kultur</a:t>
          </a:r>
        </a:p>
      </dsp:txBody>
      <dsp:txXfrm>
        <a:off x="2517401" y="4151033"/>
        <a:ext cx="1383677" cy="1383677"/>
      </dsp:txXfrm>
    </dsp:sp>
    <dsp:sp modelId="{4233A895-07F8-4207-A392-DC07BACD0E3C}">
      <dsp:nvSpPr>
        <dsp:cNvPr id="0" name=""/>
        <dsp:cNvSpPr/>
      </dsp:nvSpPr>
      <dsp:spPr>
        <a:xfrm rot="10800000">
          <a:off x="3209239" y="2767355"/>
          <a:ext cx="2767355" cy="2767355"/>
        </a:xfrm>
        <a:prstGeom prst="triangle">
          <a:avLst/>
        </a:prstGeom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chemeClr val="tx1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Lederskap</a:t>
          </a:r>
        </a:p>
      </dsp:txBody>
      <dsp:txXfrm rot="10800000">
        <a:off x="3901078" y="2767355"/>
        <a:ext cx="1383677" cy="1383677"/>
      </dsp:txXfrm>
    </dsp:sp>
    <dsp:sp modelId="{76F5C1DA-46E3-4032-A1E7-DD7A06F22DCF}">
      <dsp:nvSpPr>
        <dsp:cNvPr id="0" name=""/>
        <dsp:cNvSpPr/>
      </dsp:nvSpPr>
      <dsp:spPr>
        <a:xfrm>
          <a:off x="4592917" y="2767355"/>
          <a:ext cx="2767355" cy="2767355"/>
        </a:xfrm>
        <a:prstGeom prst="triangle">
          <a:avLst/>
        </a:prstGeom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b="1" kern="1200" dirty="0">
            <a:solidFill>
              <a:srgbClr val="FFFFFF"/>
            </a:solidFill>
            <a:latin typeface="Bierstadt Display" panose="020B0004020202020204" pitchFamily="34" charset="0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Kompetanse</a:t>
          </a:r>
        </a:p>
      </dsp:txBody>
      <dsp:txXfrm>
        <a:off x="5284756" y="4151033"/>
        <a:ext cx="1383677" cy="138367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C4ACFF-7C62-438C-9BB7-E13DCE8FE78C}">
      <dsp:nvSpPr>
        <dsp:cNvPr id="0" name=""/>
        <dsp:cNvSpPr/>
      </dsp:nvSpPr>
      <dsp:spPr>
        <a:xfrm>
          <a:off x="3209239" y="0"/>
          <a:ext cx="2767355" cy="2767355"/>
        </a:xfrm>
        <a:prstGeom prst="triangle">
          <a:avLst/>
        </a:pr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Struktur</a:t>
          </a:r>
        </a:p>
      </dsp:txBody>
      <dsp:txXfrm>
        <a:off x="3901078" y="1383678"/>
        <a:ext cx="1383677" cy="1383677"/>
      </dsp:txXfrm>
    </dsp:sp>
    <dsp:sp modelId="{3FD16DB5-0453-4839-B302-068F003279A3}">
      <dsp:nvSpPr>
        <dsp:cNvPr id="0" name=""/>
        <dsp:cNvSpPr/>
      </dsp:nvSpPr>
      <dsp:spPr>
        <a:xfrm>
          <a:off x="1825562" y="2767355"/>
          <a:ext cx="2767355" cy="2767355"/>
        </a:xfrm>
        <a:prstGeom prst="triangle">
          <a:avLst/>
        </a:prstGeom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rgbClr val="000000"/>
              </a:solidFill>
              <a:latin typeface="Bierstadt Display" panose="020B0004020202020204" pitchFamily="34" charset="0"/>
              <a:ea typeface="+mn-ea"/>
              <a:cs typeface="+mn-cs"/>
            </a:rPr>
            <a:t>Kultur</a:t>
          </a:r>
        </a:p>
      </dsp:txBody>
      <dsp:txXfrm>
        <a:off x="2517401" y="4151033"/>
        <a:ext cx="1383677" cy="1383677"/>
      </dsp:txXfrm>
    </dsp:sp>
    <dsp:sp modelId="{4233A895-07F8-4207-A392-DC07BACD0E3C}">
      <dsp:nvSpPr>
        <dsp:cNvPr id="0" name=""/>
        <dsp:cNvSpPr/>
      </dsp:nvSpPr>
      <dsp:spPr>
        <a:xfrm rot="10800000">
          <a:off x="3209239" y="2767355"/>
          <a:ext cx="2767355" cy="2767355"/>
        </a:xfrm>
        <a:prstGeom prst="triangle">
          <a:avLst/>
        </a:prstGeom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Lederskap</a:t>
          </a:r>
        </a:p>
      </dsp:txBody>
      <dsp:txXfrm rot="10800000">
        <a:off x="3901078" y="2767355"/>
        <a:ext cx="1383677" cy="1383677"/>
      </dsp:txXfrm>
    </dsp:sp>
    <dsp:sp modelId="{76F5C1DA-46E3-4032-A1E7-DD7A06F22DCF}">
      <dsp:nvSpPr>
        <dsp:cNvPr id="0" name=""/>
        <dsp:cNvSpPr/>
      </dsp:nvSpPr>
      <dsp:spPr>
        <a:xfrm>
          <a:off x="4592917" y="2767355"/>
          <a:ext cx="2767355" cy="2767355"/>
        </a:xfrm>
        <a:prstGeom prst="triangle">
          <a:avLst/>
        </a:prstGeom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b="1" kern="1200" dirty="0">
            <a:solidFill>
              <a:srgbClr val="FFFFFF"/>
            </a:solidFill>
            <a:latin typeface="Bierstadt Display" panose="020B0004020202020204" pitchFamily="34" charset="0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Kompetanse</a:t>
          </a:r>
        </a:p>
      </dsp:txBody>
      <dsp:txXfrm>
        <a:off x="5284756" y="4151033"/>
        <a:ext cx="1383677" cy="138367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C4ACFF-7C62-438C-9BB7-E13DCE8FE78C}">
      <dsp:nvSpPr>
        <dsp:cNvPr id="0" name=""/>
        <dsp:cNvSpPr/>
      </dsp:nvSpPr>
      <dsp:spPr>
        <a:xfrm>
          <a:off x="3209239" y="0"/>
          <a:ext cx="2767355" cy="2767355"/>
        </a:xfrm>
        <a:prstGeom prst="triangle">
          <a:avLst/>
        </a:pr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Struktur</a:t>
          </a:r>
        </a:p>
      </dsp:txBody>
      <dsp:txXfrm>
        <a:off x="3901078" y="1383678"/>
        <a:ext cx="1383677" cy="1383677"/>
      </dsp:txXfrm>
    </dsp:sp>
    <dsp:sp modelId="{3FD16DB5-0453-4839-B302-068F003279A3}">
      <dsp:nvSpPr>
        <dsp:cNvPr id="0" name=""/>
        <dsp:cNvSpPr/>
      </dsp:nvSpPr>
      <dsp:spPr>
        <a:xfrm>
          <a:off x="1825562" y="2767355"/>
          <a:ext cx="2767355" cy="2767355"/>
        </a:xfrm>
        <a:prstGeom prst="triangle">
          <a:avLst/>
        </a:prstGeom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rgbClr val="000000"/>
              </a:solidFill>
              <a:latin typeface="Bierstadt Display" panose="020B0004020202020204" pitchFamily="34" charset="0"/>
              <a:ea typeface="+mn-ea"/>
              <a:cs typeface="+mn-cs"/>
            </a:rPr>
            <a:t>Kultur</a:t>
          </a:r>
        </a:p>
      </dsp:txBody>
      <dsp:txXfrm>
        <a:off x="2517401" y="4151033"/>
        <a:ext cx="1383677" cy="1383677"/>
      </dsp:txXfrm>
    </dsp:sp>
    <dsp:sp modelId="{4233A895-07F8-4207-A392-DC07BACD0E3C}">
      <dsp:nvSpPr>
        <dsp:cNvPr id="0" name=""/>
        <dsp:cNvSpPr/>
      </dsp:nvSpPr>
      <dsp:spPr>
        <a:xfrm rot="10800000">
          <a:off x="3209239" y="2767355"/>
          <a:ext cx="2767355" cy="2767355"/>
        </a:xfrm>
        <a:prstGeom prst="triangle">
          <a:avLst/>
        </a:prstGeom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rgbClr val="FFFFFF"/>
              </a:solidFill>
              <a:latin typeface="Bierstadt Display" panose="020B0004020202020204" pitchFamily="34" charset="0"/>
              <a:ea typeface="+mn-ea"/>
              <a:cs typeface="+mn-cs"/>
            </a:rPr>
            <a:t>Lederskap</a:t>
          </a:r>
        </a:p>
      </dsp:txBody>
      <dsp:txXfrm rot="10800000">
        <a:off x="3901078" y="2767355"/>
        <a:ext cx="1383677" cy="1383677"/>
      </dsp:txXfrm>
    </dsp:sp>
    <dsp:sp modelId="{76F5C1DA-46E3-4032-A1E7-DD7A06F22DCF}">
      <dsp:nvSpPr>
        <dsp:cNvPr id="0" name=""/>
        <dsp:cNvSpPr/>
      </dsp:nvSpPr>
      <dsp:spPr>
        <a:xfrm>
          <a:off x="4592917" y="2767355"/>
          <a:ext cx="2767355" cy="2767355"/>
        </a:xfrm>
        <a:prstGeom prst="triangle">
          <a:avLst/>
        </a:prstGeom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b="1" kern="1200" dirty="0">
            <a:solidFill>
              <a:srgbClr val="FFFFFF"/>
            </a:solidFill>
            <a:latin typeface="Bierstadt Display" panose="020B0004020202020204" pitchFamily="34" charset="0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Kompetanse</a:t>
          </a:r>
        </a:p>
      </dsp:txBody>
      <dsp:txXfrm>
        <a:off x="5284756" y="4151033"/>
        <a:ext cx="1383677" cy="138367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0C4ACFF-7C62-438C-9BB7-E13DCE8FE78C}">
      <dsp:nvSpPr>
        <dsp:cNvPr id="0" name=""/>
        <dsp:cNvSpPr/>
      </dsp:nvSpPr>
      <dsp:spPr>
        <a:xfrm>
          <a:off x="3209239" y="0"/>
          <a:ext cx="2767355" cy="2767355"/>
        </a:xfrm>
        <a:prstGeom prst="triangle">
          <a:avLst/>
        </a:pr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Struktur</a:t>
          </a:r>
        </a:p>
      </dsp:txBody>
      <dsp:txXfrm>
        <a:off x="3901078" y="1383678"/>
        <a:ext cx="1383677" cy="1383677"/>
      </dsp:txXfrm>
    </dsp:sp>
    <dsp:sp modelId="{3FD16DB5-0453-4839-B302-068F003279A3}">
      <dsp:nvSpPr>
        <dsp:cNvPr id="0" name=""/>
        <dsp:cNvSpPr/>
      </dsp:nvSpPr>
      <dsp:spPr>
        <a:xfrm>
          <a:off x="1825562" y="2767355"/>
          <a:ext cx="2767355" cy="2767355"/>
        </a:xfrm>
        <a:prstGeom prst="triangle">
          <a:avLst/>
        </a:prstGeom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rgbClr val="000000"/>
              </a:solidFill>
              <a:latin typeface="Bierstadt Display" panose="020B0004020202020204" pitchFamily="34" charset="0"/>
              <a:ea typeface="+mn-ea"/>
              <a:cs typeface="+mn-cs"/>
            </a:rPr>
            <a:t>Kultur</a:t>
          </a:r>
        </a:p>
      </dsp:txBody>
      <dsp:txXfrm>
        <a:off x="2517401" y="4151033"/>
        <a:ext cx="1383677" cy="1383677"/>
      </dsp:txXfrm>
    </dsp:sp>
    <dsp:sp modelId="{4233A895-07F8-4207-A392-DC07BACD0E3C}">
      <dsp:nvSpPr>
        <dsp:cNvPr id="0" name=""/>
        <dsp:cNvSpPr/>
      </dsp:nvSpPr>
      <dsp:spPr>
        <a:xfrm rot="10800000">
          <a:off x="3209239" y="2767355"/>
          <a:ext cx="2767355" cy="2767355"/>
        </a:xfrm>
        <a:prstGeom prst="triangle">
          <a:avLst/>
        </a:prstGeom>
        <a:solidFill>
          <a:schemeClr val="tx1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rgbClr val="FFFFFF"/>
              </a:solidFill>
              <a:latin typeface="Bierstadt Display" panose="020B0004020202020204" pitchFamily="34" charset="0"/>
              <a:ea typeface="+mn-ea"/>
              <a:cs typeface="+mn-cs"/>
            </a:rPr>
            <a:t>Lederskap</a:t>
          </a:r>
        </a:p>
      </dsp:txBody>
      <dsp:txXfrm rot="10800000">
        <a:off x="3901078" y="2767355"/>
        <a:ext cx="1383677" cy="1383677"/>
      </dsp:txXfrm>
    </dsp:sp>
    <dsp:sp modelId="{76F5C1DA-46E3-4032-A1E7-DD7A06F22DCF}">
      <dsp:nvSpPr>
        <dsp:cNvPr id="0" name=""/>
        <dsp:cNvSpPr/>
      </dsp:nvSpPr>
      <dsp:spPr>
        <a:xfrm>
          <a:off x="4592917" y="2767355"/>
          <a:ext cx="2767355" cy="2767355"/>
        </a:xfrm>
        <a:prstGeom prst="triangle">
          <a:avLst/>
        </a:prstGeom>
        <a:solidFill>
          <a:srgbClr val="E2FF0D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6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b-NO" sz="1800" b="1" kern="1200" dirty="0">
            <a:solidFill>
              <a:srgbClr val="FFFFFF"/>
            </a:solidFill>
            <a:latin typeface="Bierstadt Display" panose="020B0004020202020204" pitchFamily="34" charset="0"/>
            <a:ea typeface="+mn-ea"/>
            <a:cs typeface="+mn-cs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800" b="1" kern="1200" dirty="0">
              <a:solidFill>
                <a:schemeClr val="tx1"/>
              </a:solidFill>
              <a:latin typeface="Bierstadt Display" panose="020B0004020202020204" pitchFamily="34" charset="0"/>
              <a:ea typeface="+mn-ea"/>
              <a:cs typeface="+mn-cs"/>
            </a:rPr>
            <a:t>Kompetanse</a:t>
          </a:r>
        </a:p>
      </dsp:txBody>
      <dsp:txXfrm>
        <a:off x="5284756" y="4151033"/>
        <a:ext cx="1383677" cy="13836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89938" cy="489374"/>
          </a:xfrm>
          <a:prstGeom prst="rect">
            <a:avLst/>
          </a:prstGeom>
        </p:spPr>
        <p:txBody>
          <a:bodyPr vert="horz" lIns="90443" tIns="45222" rIns="90443" bIns="45222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89374"/>
          </a:xfrm>
          <a:prstGeom prst="rect">
            <a:avLst/>
          </a:prstGeom>
        </p:spPr>
        <p:txBody>
          <a:bodyPr vert="horz" lIns="90443" tIns="45222" rIns="90443" bIns="45222" rtlCol="0"/>
          <a:lstStyle>
            <a:lvl1pPr algn="r">
              <a:defRPr sz="1200"/>
            </a:lvl1pPr>
          </a:lstStyle>
          <a:p>
            <a:fld id="{174D7B20-44CE-FA4A-9C33-24B1CB8F08B4}" type="datetimeFigureOut">
              <a:rPr lang="nb-NO" smtClean="0"/>
              <a:t>24.09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19200"/>
            <a:ext cx="5849938" cy="3290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43" tIns="45222" rIns="90443" bIns="45222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66909" y="4693920"/>
            <a:ext cx="5335270" cy="3840480"/>
          </a:xfrm>
          <a:prstGeom prst="rect">
            <a:avLst/>
          </a:prstGeom>
        </p:spPr>
        <p:txBody>
          <a:bodyPr vert="horz" lIns="90443" tIns="45222" rIns="90443" bIns="45222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264228"/>
            <a:ext cx="2889938" cy="489373"/>
          </a:xfrm>
          <a:prstGeom prst="rect">
            <a:avLst/>
          </a:prstGeom>
        </p:spPr>
        <p:txBody>
          <a:bodyPr vert="horz" lIns="90443" tIns="45222" rIns="90443" bIns="45222" rtlCol="0" anchor="b"/>
          <a:lstStyle>
            <a:lvl1pPr algn="l">
              <a:defRPr sz="1200"/>
            </a:lvl1pPr>
          </a:lstStyle>
          <a:p>
            <a:r>
              <a:rPr lang="nb-NO"/>
              <a:t>458592_v1/SOLVEIGG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777607" y="9264228"/>
            <a:ext cx="2889938" cy="489373"/>
          </a:xfrm>
          <a:prstGeom prst="rect">
            <a:avLst/>
          </a:prstGeom>
        </p:spPr>
        <p:txBody>
          <a:bodyPr vert="horz" lIns="90443" tIns="45222" rIns="90443" bIns="45222" rtlCol="0" anchor="b"/>
          <a:lstStyle>
            <a:lvl1pPr algn="r">
              <a:defRPr sz="1200"/>
            </a:lvl1pPr>
          </a:lstStyle>
          <a:p>
            <a:fld id="{7A4C8D70-9812-684A-8AAA-FF39D47E912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4044357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Tusen takk for anledningen til å komme hit og snakke om et tema jeg virkelig brenner for.</a:t>
            </a:r>
          </a:p>
          <a:p>
            <a:endParaRPr lang="nb-NO" dirty="0"/>
          </a:p>
          <a:p>
            <a:r>
              <a:rPr lang="nb-NO" dirty="0"/>
              <a:t>Jeg heter TW og har gleden av å være administrerende direktør i Lnett – Lyse sitt nettselskap.</a:t>
            </a:r>
            <a:endParaRPr lang="en-US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52224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ar lyst til å stoppe opp og si noe om spesielt 2 av disse.</a:t>
            </a:r>
          </a:p>
          <a:p>
            <a:endParaRPr lang="nb-NO" dirty="0"/>
          </a:p>
          <a:p>
            <a:r>
              <a:rPr lang="nb-NO" dirty="0"/>
              <a:t>Omstendigheter former atferd. </a:t>
            </a:r>
            <a:r>
              <a:rPr lang="en-US" dirty="0" err="1"/>
              <a:t>Lederne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ansvaret</a:t>
            </a:r>
            <a:r>
              <a:rPr lang="en-US" dirty="0"/>
              <a:t> for å </a:t>
            </a:r>
            <a:r>
              <a:rPr lang="en-US" dirty="0" err="1"/>
              <a:t>legge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rette</a:t>
            </a:r>
            <a:r>
              <a:rPr lang="en-US" dirty="0"/>
              <a:t> for </a:t>
            </a:r>
            <a:r>
              <a:rPr lang="en-US" dirty="0" err="1"/>
              <a:t>omgivels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rammebetingelser</a:t>
            </a:r>
            <a:r>
              <a:rPr lang="en-US" dirty="0"/>
              <a:t>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gjør</a:t>
            </a:r>
            <a:r>
              <a:rPr lang="en-US" dirty="0"/>
              <a:t> det </a:t>
            </a:r>
            <a:r>
              <a:rPr lang="en-US" dirty="0" err="1"/>
              <a:t>mulig</a:t>
            </a:r>
            <a:r>
              <a:rPr lang="en-US" dirty="0"/>
              <a:t> å </a:t>
            </a:r>
            <a:r>
              <a:rPr lang="en-US" dirty="0" err="1"/>
              <a:t>jobbe</a:t>
            </a:r>
            <a:r>
              <a:rPr lang="en-US" dirty="0"/>
              <a:t> </a:t>
            </a:r>
            <a:r>
              <a:rPr lang="en-US" dirty="0" err="1"/>
              <a:t>sikkert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En </a:t>
            </a:r>
            <a:r>
              <a:rPr lang="en-US" dirty="0" err="1"/>
              <a:t>viktig</a:t>
            </a:r>
            <a:r>
              <a:rPr lang="en-US" dirty="0"/>
              <a:t> </a:t>
            </a:r>
            <a:r>
              <a:rPr lang="en-US" dirty="0" err="1"/>
              <a:t>forutsetning</a:t>
            </a:r>
            <a:r>
              <a:rPr lang="en-US" dirty="0"/>
              <a:t> for å </a:t>
            </a:r>
            <a:r>
              <a:rPr lang="en-US" dirty="0" err="1"/>
              <a:t>få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dette</a:t>
            </a:r>
            <a:r>
              <a:rPr lang="en-US" dirty="0"/>
              <a:t> er at vi </a:t>
            </a:r>
            <a:r>
              <a:rPr lang="en-US" dirty="0" err="1"/>
              <a:t>forstår</a:t>
            </a:r>
            <a:r>
              <a:rPr lang="en-US" dirty="0"/>
              <a:t> </a:t>
            </a:r>
            <a:r>
              <a:rPr lang="en-US" dirty="0" err="1"/>
              <a:t>sammenhengen</a:t>
            </a:r>
            <a:r>
              <a:rPr lang="en-US" dirty="0"/>
              <a:t> </a:t>
            </a:r>
            <a:r>
              <a:rPr lang="en-US" dirty="0" err="1"/>
              <a:t>mellom</a:t>
            </a:r>
            <a:r>
              <a:rPr lang="en-US" dirty="0"/>
              <a:t> de </a:t>
            </a:r>
            <a:r>
              <a:rPr lang="en-US" dirty="0" err="1"/>
              <a:t>beslutningene</a:t>
            </a:r>
            <a:r>
              <a:rPr lang="en-US" dirty="0"/>
              <a:t> vi tar </a:t>
            </a:r>
            <a:r>
              <a:rPr lang="en-US" dirty="0" err="1"/>
              <a:t>og</a:t>
            </a:r>
            <a:r>
              <a:rPr lang="en-US" dirty="0"/>
              <a:t> de </a:t>
            </a:r>
            <a:r>
              <a:rPr lang="en-US" dirty="0" err="1"/>
              <a:t>konsekvensene</a:t>
            </a:r>
            <a:r>
              <a:rPr lang="en-US" dirty="0"/>
              <a:t> det </a:t>
            </a:r>
            <a:r>
              <a:rPr lang="en-US" dirty="0" err="1"/>
              <a:t>har</a:t>
            </a:r>
            <a:r>
              <a:rPr lang="en-US" dirty="0"/>
              <a:t> for de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utsettes</a:t>
            </a:r>
            <a:r>
              <a:rPr lang="en-US" dirty="0"/>
              <a:t> for fare. </a:t>
            </a:r>
          </a:p>
          <a:p>
            <a:endParaRPr lang="en-US" dirty="0"/>
          </a:p>
          <a:p>
            <a:r>
              <a:rPr lang="en-US" dirty="0"/>
              <a:t>En </a:t>
            </a:r>
            <a:r>
              <a:rPr lang="en-US" dirty="0" err="1"/>
              <a:t>annen</a:t>
            </a:r>
            <a:r>
              <a:rPr lang="en-US" dirty="0"/>
              <a:t> </a:t>
            </a:r>
            <a:r>
              <a:rPr lang="en-US" dirty="0" err="1"/>
              <a:t>viktig</a:t>
            </a:r>
            <a:r>
              <a:rPr lang="en-US" dirty="0"/>
              <a:t> </a:t>
            </a:r>
            <a:r>
              <a:rPr lang="en-US" dirty="0" err="1"/>
              <a:t>forusetning</a:t>
            </a:r>
            <a:r>
              <a:rPr lang="en-US" dirty="0"/>
              <a:t> er at vi er </a:t>
            </a:r>
            <a:r>
              <a:rPr lang="en-US" dirty="0" err="1"/>
              <a:t>så</a:t>
            </a:r>
            <a:r>
              <a:rPr lang="en-US" dirty="0"/>
              <a:t> </a:t>
            </a:r>
            <a:r>
              <a:rPr lang="en-US" dirty="0" err="1"/>
              <a:t>tett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at vi </a:t>
            </a:r>
            <a:r>
              <a:rPr lang="en-US" dirty="0" err="1"/>
              <a:t>evner</a:t>
            </a:r>
            <a:r>
              <a:rPr lang="en-US" dirty="0"/>
              <a:t> å </a:t>
            </a:r>
            <a:r>
              <a:rPr lang="en-US" dirty="0" err="1"/>
              <a:t>påvirke</a:t>
            </a:r>
            <a:r>
              <a:rPr lang="en-US" dirty="0"/>
              <a:t> </a:t>
            </a:r>
            <a:r>
              <a:rPr lang="en-US" dirty="0" err="1"/>
              <a:t>kulturen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sikre</a:t>
            </a:r>
            <a:r>
              <a:rPr lang="en-US" dirty="0"/>
              <a:t> at </a:t>
            </a:r>
            <a:r>
              <a:rPr lang="en-US" dirty="0" err="1"/>
              <a:t>våre</a:t>
            </a:r>
            <a:r>
              <a:rPr lang="en-US" dirty="0"/>
              <a:t> </a:t>
            </a:r>
            <a:r>
              <a:rPr lang="en-US" dirty="0" err="1"/>
              <a:t>intensjoner</a:t>
            </a:r>
            <a:r>
              <a:rPr lang="en-US" dirty="0"/>
              <a:t> </a:t>
            </a:r>
            <a:r>
              <a:rPr lang="en-US" dirty="0" err="1"/>
              <a:t>blir</a:t>
            </a:r>
            <a:r>
              <a:rPr lang="en-US" dirty="0"/>
              <a:t> </a:t>
            </a:r>
            <a:r>
              <a:rPr lang="en-US" dirty="0" err="1"/>
              <a:t>forstått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Det </a:t>
            </a:r>
            <a:r>
              <a:rPr lang="en-US" dirty="0" err="1"/>
              <a:t>hjelper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å </a:t>
            </a:r>
            <a:r>
              <a:rPr lang="en-US" dirty="0" err="1"/>
              <a:t>si</a:t>
            </a:r>
            <a:r>
              <a:rPr lang="en-US" dirty="0"/>
              <a:t> “</a:t>
            </a:r>
            <a:r>
              <a:rPr lang="en-US" dirty="0" err="1"/>
              <a:t>sikkerheten</a:t>
            </a:r>
            <a:r>
              <a:rPr lang="en-US" dirty="0"/>
              <a:t> </a:t>
            </a:r>
            <a:r>
              <a:rPr lang="en-US" dirty="0" err="1"/>
              <a:t>kommer</a:t>
            </a:r>
            <a:r>
              <a:rPr lang="en-US" dirty="0"/>
              <a:t> </a:t>
            </a:r>
            <a:r>
              <a:rPr lang="en-US" dirty="0" err="1"/>
              <a:t>alltid</a:t>
            </a:r>
            <a:r>
              <a:rPr lang="en-US" dirty="0"/>
              <a:t> </a:t>
            </a:r>
            <a:r>
              <a:rPr lang="en-US" dirty="0" err="1"/>
              <a:t>først</a:t>
            </a:r>
            <a:r>
              <a:rPr lang="en-US" dirty="0"/>
              <a:t> hos </a:t>
            </a:r>
            <a:r>
              <a:rPr lang="en-US" dirty="0" err="1"/>
              <a:t>oss</a:t>
            </a:r>
            <a:r>
              <a:rPr lang="en-US" dirty="0"/>
              <a:t>”, </a:t>
            </a:r>
            <a:r>
              <a:rPr lang="en-US" dirty="0" err="1"/>
              <a:t>dersom</a:t>
            </a:r>
            <a:r>
              <a:rPr lang="en-US" dirty="0"/>
              <a:t> alt </a:t>
            </a:r>
            <a:r>
              <a:rPr lang="en-US" dirty="0" err="1"/>
              <a:t>annet</a:t>
            </a:r>
            <a:r>
              <a:rPr lang="en-US" dirty="0"/>
              <a:t> vi </a:t>
            </a:r>
            <a:r>
              <a:rPr lang="en-US" dirty="0" err="1"/>
              <a:t>gjør</a:t>
            </a:r>
            <a:r>
              <a:rPr lang="en-US" dirty="0"/>
              <a:t> handler om </a:t>
            </a:r>
            <a:r>
              <a:rPr lang="en-US" dirty="0" err="1"/>
              <a:t>effektivisering</a:t>
            </a:r>
            <a:r>
              <a:rPr lang="en-US" dirty="0"/>
              <a:t>, </a:t>
            </a:r>
            <a:r>
              <a:rPr lang="en-US" dirty="0" err="1"/>
              <a:t>kostnadskutt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tidspress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I </a:t>
            </a:r>
            <a:r>
              <a:rPr lang="en-US" dirty="0" err="1"/>
              <a:t>Nyhamna-eksemplet</a:t>
            </a:r>
            <a:r>
              <a:rPr lang="en-US" dirty="0"/>
              <a:t> </a:t>
            </a:r>
            <a:r>
              <a:rPr lang="en-US" dirty="0" err="1"/>
              <a:t>satt</a:t>
            </a:r>
            <a:r>
              <a:rPr lang="en-US" dirty="0"/>
              <a:t> </a:t>
            </a:r>
            <a:r>
              <a:rPr lang="en-US" dirty="0" err="1"/>
              <a:t>jeg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et </a:t>
            </a:r>
            <a:r>
              <a:rPr lang="en-US" dirty="0" err="1"/>
              <a:t>kontor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Stavanger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reiste</a:t>
            </a:r>
            <a:r>
              <a:rPr lang="en-US" dirty="0"/>
              <a:t> av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“</a:t>
            </a:r>
            <a:r>
              <a:rPr lang="en-US" dirty="0" err="1"/>
              <a:t>ledelsesbesøk</a:t>
            </a:r>
            <a:r>
              <a:rPr lang="en-US" dirty="0"/>
              <a:t>”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Aukra</a:t>
            </a:r>
            <a:r>
              <a:rPr lang="en-US" dirty="0"/>
              <a:t>. </a:t>
            </a:r>
            <a:r>
              <a:rPr lang="en-US" dirty="0" err="1"/>
              <a:t>Jeg</a:t>
            </a:r>
            <a:r>
              <a:rPr lang="en-US" dirty="0"/>
              <a:t> var for </a:t>
            </a:r>
            <a:r>
              <a:rPr lang="en-US" dirty="0" err="1"/>
              <a:t>langt</a:t>
            </a:r>
            <a:r>
              <a:rPr lang="en-US" dirty="0"/>
              <a:t> </a:t>
            </a:r>
            <a:r>
              <a:rPr lang="en-US" dirty="0" err="1"/>
              <a:t>unna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både</a:t>
            </a:r>
            <a:r>
              <a:rPr lang="en-US" dirty="0"/>
              <a:t> å </a:t>
            </a:r>
            <a:r>
              <a:rPr lang="en-US" dirty="0" err="1"/>
              <a:t>kunne</a:t>
            </a:r>
            <a:r>
              <a:rPr lang="en-US" dirty="0"/>
              <a:t> </a:t>
            </a:r>
            <a:r>
              <a:rPr lang="en-US" dirty="0" err="1"/>
              <a:t>forstå</a:t>
            </a:r>
            <a:r>
              <a:rPr lang="en-US" dirty="0"/>
              <a:t> de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faktisk</a:t>
            </a:r>
            <a:r>
              <a:rPr lang="en-US" dirty="0"/>
              <a:t> </a:t>
            </a:r>
            <a:r>
              <a:rPr lang="en-US" dirty="0" err="1"/>
              <a:t>hadde</a:t>
            </a:r>
            <a:r>
              <a:rPr lang="en-US" dirty="0"/>
              <a:t> </a:t>
            </a:r>
            <a:r>
              <a:rPr lang="en-US" dirty="0" err="1"/>
              <a:t>skoene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kunne</a:t>
            </a:r>
            <a:r>
              <a:rPr lang="en-US" dirty="0"/>
              <a:t> </a:t>
            </a:r>
            <a:r>
              <a:rPr lang="en-US" dirty="0" err="1"/>
              <a:t>sikre</a:t>
            </a:r>
            <a:r>
              <a:rPr lang="en-US" dirty="0"/>
              <a:t> at de </a:t>
            </a:r>
            <a:r>
              <a:rPr lang="en-US" dirty="0" err="1"/>
              <a:t>virkelig</a:t>
            </a:r>
            <a:r>
              <a:rPr lang="en-US" dirty="0"/>
              <a:t> </a:t>
            </a:r>
            <a:r>
              <a:rPr lang="en-US" dirty="0" err="1"/>
              <a:t>forsto</a:t>
            </a:r>
            <a:r>
              <a:rPr lang="en-US" dirty="0"/>
              <a:t> at </a:t>
            </a:r>
            <a:r>
              <a:rPr lang="en-US" dirty="0" err="1"/>
              <a:t>jeg</a:t>
            </a:r>
            <a:r>
              <a:rPr lang="en-US" dirty="0"/>
              <a:t> </a:t>
            </a:r>
            <a:r>
              <a:rPr lang="en-US" dirty="0" err="1"/>
              <a:t>mente</a:t>
            </a:r>
            <a:r>
              <a:rPr lang="en-US" dirty="0"/>
              <a:t> at </a:t>
            </a:r>
            <a:r>
              <a:rPr lang="en-US" dirty="0" err="1"/>
              <a:t>sikkerheten</a:t>
            </a:r>
            <a:r>
              <a:rPr lang="en-US" dirty="0"/>
              <a:t> </a:t>
            </a:r>
            <a:r>
              <a:rPr lang="en-US" dirty="0" err="1"/>
              <a:t>skulle</a:t>
            </a:r>
            <a:r>
              <a:rPr lang="en-US" dirty="0"/>
              <a:t> </a:t>
            </a:r>
            <a:r>
              <a:rPr lang="en-US" dirty="0" err="1"/>
              <a:t>komme</a:t>
            </a:r>
            <a:r>
              <a:rPr lang="en-US" dirty="0"/>
              <a:t> </a:t>
            </a:r>
            <a:r>
              <a:rPr lang="en-US" dirty="0" err="1"/>
              <a:t>først</a:t>
            </a:r>
            <a:r>
              <a:rPr lang="en-US" dirty="0"/>
              <a:t>. </a:t>
            </a:r>
          </a:p>
          <a:p>
            <a:endParaRPr lang="en-US" dirty="0"/>
          </a:p>
          <a:p>
            <a:r>
              <a:rPr lang="en-US" dirty="0"/>
              <a:t>Noe av det </a:t>
            </a:r>
            <a:r>
              <a:rPr lang="en-US" dirty="0" err="1"/>
              <a:t>viktigste</a:t>
            </a:r>
            <a:r>
              <a:rPr lang="en-US" dirty="0"/>
              <a:t> </a:t>
            </a:r>
            <a:r>
              <a:rPr lang="en-US" dirty="0" err="1"/>
              <a:t>jeg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lært</a:t>
            </a:r>
            <a:r>
              <a:rPr lang="en-US" dirty="0"/>
              <a:t>: </a:t>
            </a:r>
            <a:r>
              <a:rPr lang="en-US" dirty="0" err="1"/>
              <a:t>tett</a:t>
            </a:r>
            <a:r>
              <a:rPr lang="en-US" dirty="0"/>
              <a:t> dialog, </a:t>
            </a:r>
            <a:r>
              <a:rPr lang="en-US" dirty="0" err="1"/>
              <a:t>lytte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lære</a:t>
            </a:r>
            <a:r>
              <a:rPr lang="en-US" dirty="0"/>
              <a:t>.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182321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Når dette virkelig settes på prøve, er når det skjer hendelser…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205358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å hva er da lederens rolle i dette. Jo…veldig mange ting. 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9258590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En viktig oppgave er å sette en klar og tydelig standard og forventninger. </a:t>
            </a:r>
          </a:p>
          <a:p>
            <a:endParaRPr lang="nb-NO" dirty="0"/>
          </a:p>
          <a:p>
            <a:endParaRPr lang="nb-NO" dirty="0"/>
          </a:p>
          <a:p>
            <a:endParaRPr lang="en-US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385865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Dersom vi i kraftbransjen opprettholder dagens prestasjon og dobler aktivitetsnivået, så vil vi by </a:t>
            </a:r>
            <a:r>
              <a:rPr lang="nb-NO" dirty="0" err="1"/>
              <a:t>default</a:t>
            </a:r>
            <a:r>
              <a:rPr lang="nb-NO" dirty="0"/>
              <a:t> skade dobbelt så mange mennesker. </a:t>
            </a:r>
          </a:p>
          <a:p>
            <a:endParaRPr lang="nb-NO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Tenker helt annerledes hvis vi teller skader/hendelser enn statistikk. </a:t>
            </a:r>
          </a:p>
          <a:p>
            <a:endParaRPr lang="nb-NO" dirty="0"/>
          </a:p>
          <a:p>
            <a:r>
              <a:rPr lang="nb-NO" dirty="0"/>
              <a:t>Null skader! Tror vi på det?! Jeg tror på det. Har vært med på prosjekt med millioner av </a:t>
            </a:r>
            <a:r>
              <a:rPr lang="nb-NO" dirty="0" err="1"/>
              <a:t>eksponeringstimer</a:t>
            </a:r>
            <a:r>
              <a:rPr lang="nb-NO" dirty="0"/>
              <a:t> og flere år uten skader.</a:t>
            </a:r>
          </a:p>
          <a:p>
            <a:endParaRPr lang="nb-NO" dirty="0"/>
          </a:p>
          <a:p>
            <a:r>
              <a:rPr lang="nb-NO" dirty="0"/>
              <a:t>Blir møtt med 1) har ikke samme konsekvenser i kraftbransjen (kan ikke forsvare å investere så mye) og 2) kontrollerer ikke omgivelsene.</a:t>
            </a:r>
          </a:p>
          <a:p>
            <a:endParaRPr lang="nb-NO" dirty="0"/>
          </a:p>
          <a:p>
            <a:r>
              <a:rPr lang="nb-NO" dirty="0"/>
              <a:t>Alle hendelser kan unngås!</a:t>
            </a:r>
          </a:p>
          <a:p>
            <a:endParaRPr lang="nb-NO" dirty="0"/>
          </a:p>
          <a:p>
            <a:endParaRPr lang="nb-NO" dirty="0"/>
          </a:p>
          <a:p>
            <a:endParaRPr lang="en-US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45874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Hvordan føles det å være på 10? Hvordan ser det  ut der? Hvordan jobber man? Hvordan tenker man?</a:t>
            </a:r>
          </a:p>
          <a:p>
            <a:endParaRPr lang="nb-NO" dirty="0"/>
          </a:p>
          <a:p>
            <a:r>
              <a:rPr lang="nb-NO" dirty="0" err="1"/>
              <a:t>Nyhamna</a:t>
            </a:r>
            <a:r>
              <a:rPr lang="nb-NO" dirty="0"/>
              <a:t>: Vi var nok der; trodde vi var nær 10, hadde rutiner osv. Men innovasjonsprosessen viste oss noe annet:</a:t>
            </a:r>
          </a:p>
          <a:p>
            <a:r>
              <a:rPr lang="nb-NO" dirty="0"/>
              <a:t>3 dager = ny standard.</a:t>
            </a:r>
          </a:p>
          <a:p>
            <a:endParaRPr lang="nb-NO" dirty="0"/>
          </a:p>
          <a:p>
            <a:r>
              <a:rPr lang="nb-NO" dirty="0"/>
              <a:t>Må hele tiden utfordre oss selv, være nysgjerrige, hente læring og kunnskap fra andre. Best sammen.</a:t>
            </a:r>
          </a:p>
          <a:p>
            <a:endParaRPr lang="nb-NO" dirty="0"/>
          </a:p>
          <a:p>
            <a:r>
              <a:rPr lang="nb-NO" dirty="0"/>
              <a:t>Visjon for Lnett – når vi går ut av et prosjekt sammen med en leverandør/entreprenør, så gjør vi det som bedre versjoner av oss selv.</a:t>
            </a:r>
          </a:p>
          <a:p>
            <a:endParaRPr lang="nb-NO" dirty="0"/>
          </a:p>
          <a:p>
            <a:endParaRPr lang="nb-NO" dirty="0"/>
          </a:p>
          <a:p>
            <a:endParaRPr lang="en-US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07799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om toppleder har jeg ansvaret for å forstå sammenhengene mellom disse elementene og sikre en helhetlig tilnærming som gjør at vi klarer å forstå og håndtere den risikoen vi representerer for ansatte, leverandører og publikum (risikostyring). </a:t>
            </a:r>
          </a:p>
          <a:p>
            <a:endParaRPr lang="nb-NO" dirty="0"/>
          </a:p>
          <a:p>
            <a:r>
              <a:rPr lang="nb-NO" dirty="0"/>
              <a:t>For meg handler det først og fremst om å forstå risikoen vi tar og sikre de rammebetingelsene som skal til for at vi ikke skader noen i vår virksomhet. Dette jobber jeg med hver dag og har absolutt øverste prioritet hos meg. Og da går vi nok fra «mer av alt raskere» til «de riktige </a:t>
            </a:r>
            <a:r>
              <a:rPr lang="nb-NO"/>
              <a:t>tingene smartere».</a:t>
            </a:r>
            <a:endParaRPr lang="nb-NO" dirty="0"/>
          </a:p>
          <a:p>
            <a:endParaRPr lang="nb-NO" dirty="0"/>
          </a:p>
          <a:p>
            <a:r>
              <a:rPr lang="nb-NO" dirty="0"/>
              <a:t>Og det gjør at jeg kan leve med ansvaret jeg har tatt på meg for andre menneskers liv og helse. </a:t>
            </a:r>
          </a:p>
          <a:p>
            <a:endParaRPr lang="nb-NO" dirty="0"/>
          </a:p>
          <a:p>
            <a:r>
              <a:rPr lang="nb-NO" dirty="0"/>
              <a:t>Takk for oppmerksomheten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2502737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1459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Plassholder for lysbilde 1">
            <a:extLst>
              <a:ext uri="{FF2B5EF4-FFF2-40B4-BE49-F238E27FC236}">
                <a16:creationId xmlns:a16="http://schemas.microsoft.com/office/drawing/2014/main" id="{16146A50-12F9-4AD5-92B2-4D723CB5D24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7587" name="Plassholder for notater 2">
            <a:extLst>
              <a:ext uri="{FF2B5EF4-FFF2-40B4-BE49-F238E27FC236}">
                <a16:creationId xmlns:a16="http://schemas.microsoft.com/office/drawing/2014/main" id="{3B1004E4-50D2-49C0-83B8-3932746984F7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b-NO" altLang="nb-NO" dirty="0"/>
              <a:t>Lnett er ett av Norges største nettselskap og er ansvarlig for å drifte, vedlikeholde og bygge ut nettet i 9 kommuner i Sør-Rogaland. Vi investerer nå i mer nett de neste 10 årene, enn vi har gjort de siste 100. Dette skyldes en kombinasjon av behov for utskifting og oppgradering av gammelt nett og nytt nett for å tilrettelegge for nye forbruk.</a:t>
            </a:r>
          </a:p>
          <a:p>
            <a:endParaRPr lang="nb-NO" altLang="nb-NO" dirty="0"/>
          </a:p>
          <a:p>
            <a:endParaRPr lang="nb-NO" altLang="nb-NO" dirty="0"/>
          </a:p>
          <a:p>
            <a:endParaRPr lang="nb-NO" altLang="nb-NO" dirty="0"/>
          </a:p>
        </p:txBody>
      </p:sp>
      <p:sp>
        <p:nvSpPr>
          <p:cNvPr id="67588" name="Plassholder for lysbildenummer 3">
            <a:extLst>
              <a:ext uri="{FF2B5EF4-FFF2-40B4-BE49-F238E27FC236}">
                <a16:creationId xmlns:a16="http://schemas.microsoft.com/office/drawing/2014/main" id="{FFFE85CC-85E3-448B-87DF-83181F8AAA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904433">
              <a:defRPr/>
            </a:pPr>
            <a:fld id="{2811F7DB-8F77-4E1B-B7DA-515DDA68D318}" type="slidenum">
              <a:rPr lang="nb-NO" altLang="nb-NO">
                <a:solidFill>
                  <a:prstClr val="black"/>
                </a:solidFill>
                <a:latin typeface="Calibri" panose="020F0502020204030204"/>
              </a:rPr>
              <a:pPr defTabSz="904433">
                <a:defRPr/>
              </a:pPr>
              <a:t>2</a:t>
            </a:fld>
            <a:endParaRPr lang="nb-NO" altLang="nb-NO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84113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altLang="nb-NO" dirty="0"/>
              <a:t>Nettselskapene og bransjen står overfor en utrolig spennende og krevende endring, hvor forventningene har endret seg utrolig raskt; investeringer, kompleksitet osv. Dette resulterer i et aktivitetsnivå som krever noe helt annet av aktørene i bransjen.</a:t>
            </a:r>
          </a:p>
          <a:p>
            <a:endParaRPr lang="nb-NO" altLang="nb-NO" dirty="0"/>
          </a:p>
          <a:p>
            <a:r>
              <a:rPr lang="nb-NO" altLang="nb-NO" dirty="0"/>
              <a:t>Jeg har bare vært i denne rollen og i bransjen i 7 måneder, så når jeg nå skal reflektere over topplederens ansvar, vil jeg trekke på erfaring også fra tidligere lederroller.</a:t>
            </a:r>
          </a:p>
          <a:p>
            <a:endParaRPr lang="en-US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360222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Ansvar for andre menneskers liv og helse: ansatte, samarbeidspartnere/leverandører, publikum</a:t>
            </a:r>
          </a:p>
          <a:p>
            <a:endParaRPr lang="nb-NO" dirty="0"/>
          </a:p>
          <a:p>
            <a:r>
              <a:rPr lang="nb-NO" dirty="0"/>
              <a:t>Det jeg gjør og ikke gjør kan bety forskjellen mellom liv og død</a:t>
            </a:r>
          </a:p>
          <a:p>
            <a:endParaRPr lang="en-US" dirty="0"/>
          </a:p>
          <a:p>
            <a:r>
              <a:rPr lang="en-US" dirty="0" err="1"/>
              <a:t>Ansvaret</a:t>
            </a:r>
            <a:r>
              <a:rPr lang="en-US" dirty="0"/>
              <a:t> er formelt </a:t>
            </a:r>
            <a:r>
              <a:rPr lang="en-US" dirty="0" err="1"/>
              <a:t>beskrevet</a:t>
            </a:r>
            <a:r>
              <a:rPr lang="en-US" dirty="0"/>
              <a:t> </a:t>
            </a:r>
            <a:r>
              <a:rPr lang="en-US" dirty="0" err="1"/>
              <a:t>juridisk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lover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regler</a:t>
            </a:r>
            <a:r>
              <a:rPr lang="en-US" dirty="0"/>
              <a:t>,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våre</a:t>
            </a:r>
            <a:r>
              <a:rPr lang="en-US" dirty="0"/>
              <a:t> </a:t>
            </a:r>
            <a:r>
              <a:rPr lang="en-US" dirty="0" err="1"/>
              <a:t>forretnignsmessige</a:t>
            </a:r>
            <a:r>
              <a:rPr lang="en-US" dirty="0"/>
              <a:t> </a:t>
            </a:r>
            <a:r>
              <a:rPr lang="en-US" dirty="0" err="1"/>
              <a:t>mål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strategi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min </a:t>
            </a:r>
            <a:r>
              <a:rPr lang="en-US" dirty="0" err="1"/>
              <a:t>stillingsbeskrivelse</a:t>
            </a:r>
            <a:r>
              <a:rPr lang="en-US" dirty="0"/>
              <a:t>…</a:t>
            </a:r>
          </a:p>
          <a:p>
            <a:endParaRPr lang="en-US" dirty="0"/>
          </a:p>
          <a:p>
            <a:r>
              <a:rPr lang="en-US" dirty="0"/>
              <a:t>Men </a:t>
            </a:r>
            <a:r>
              <a:rPr lang="en-US" dirty="0" err="1"/>
              <a:t>først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fremst</a:t>
            </a:r>
            <a:r>
              <a:rPr lang="en-US" dirty="0"/>
              <a:t> </a:t>
            </a:r>
            <a:r>
              <a:rPr lang="en-US" dirty="0" err="1"/>
              <a:t>forankret</a:t>
            </a:r>
            <a:r>
              <a:rPr lang="en-US" dirty="0"/>
              <a:t> solid </a:t>
            </a:r>
            <a:r>
              <a:rPr lang="en-US" dirty="0" err="1"/>
              <a:t>i</a:t>
            </a:r>
            <a:r>
              <a:rPr lang="en-US" dirty="0"/>
              <a:t> mitt </a:t>
            </a:r>
            <a:r>
              <a:rPr lang="en-US" dirty="0" err="1"/>
              <a:t>eget</a:t>
            </a:r>
            <a:r>
              <a:rPr lang="en-US" dirty="0"/>
              <a:t> </a:t>
            </a:r>
            <a:r>
              <a:rPr lang="en-US" dirty="0" err="1"/>
              <a:t>verdisett</a:t>
            </a:r>
            <a:r>
              <a:rPr lang="en-US" dirty="0"/>
              <a:t> – </a:t>
            </a:r>
            <a:r>
              <a:rPr lang="en-US" dirty="0" err="1"/>
              <a:t>genuint</a:t>
            </a:r>
            <a:r>
              <a:rPr lang="en-US" dirty="0"/>
              <a:t> </a:t>
            </a:r>
            <a:r>
              <a:rPr lang="en-US" dirty="0" err="1"/>
              <a:t>opptatt</a:t>
            </a:r>
            <a:r>
              <a:rPr lang="en-US" dirty="0"/>
              <a:t> av </a:t>
            </a:r>
            <a:r>
              <a:rPr lang="en-US" dirty="0" err="1"/>
              <a:t>ikke</a:t>
            </a:r>
            <a:r>
              <a:rPr lang="en-US" dirty="0"/>
              <a:t> å </a:t>
            </a:r>
            <a:r>
              <a:rPr lang="en-US" dirty="0" err="1"/>
              <a:t>skade</a:t>
            </a:r>
            <a:r>
              <a:rPr lang="en-US" dirty="0"/>
              <a:t> </a:t>
            </a:r>
            <a:r>
              <a:rPr lang="en-US" dirty="0" err="1"/>
              <a:t>noen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I de </a:t>
            </a:r>
            <a:r>
              <a:rPr lang="en-US" dirty="0" err="1"/>
              <a:t>neste</a:t>
            </a:r>
            <a:r>
              <a:rPr lang="en-US" dirty="0"/>
              <a:t> </a:t>
            </a:r>
            <a:r>
              <a:rPr lang="en-US" dirty="0" err="1"/>
              <a:t>minuttene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jeg</a:t>
            </a:r>
            <a:r>
              <a:rPr lang="en-US" dirty="0"/>
              <a:t> </a:t>
            </a:r>
            <a:r>
              <a:rPr lang="en-US" dirty="0" err="1"/>
              <a:t>fått</a:t>
            </a:r>
            <a:r>
              <a:rPr lang="en-US" dirty="0"/>
              <a:t> </a:t>
            </a:r>
            <a:r>
              <a:rPr lang="en-US" dirty="0" err="1"/>
              <a:t>anledning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å </a:t>
            </a:r>
            <a:r>
              <a:rPr lang="en-US" dirty="0" err="1"/>
              <a:t>reflektere</a:t>
            </a:r>
            <a:r>
              <a:rPr lang="en-US" dirty="0"/>
              <a:t> over </a:t>
            </a:r>
            <a:r>
              <a:rPr lang="en-US" dirty="0" err="1"/>
              <a:t>hva</a:t>
            </a:r>
            <a:r>
              <a:rPr lang="en-US" dirty="0"/>
              <a:t> </a:t>
            </a:r>
            <a:r>
              <a:rPr lang="en-US" dirty="0" err="1"/>
              <a:t>dette</a:t>
            </a:r>
            <a:r>
              <a:rPr lang="en-US" dirty="0"/>
              <a:t> </a:t>
            </a:r>
            <a:r>
              <a:rPr lang="en-US" dirty="0" err="1"/>
              <a:t>ansvaret</a:t>
            </a:r>
            <a:r>
              <a:rPr lang="en-US" dirty="0"/>
              <a:t> </a:t>
            </a:r>
            <a:r>
              <a:rPr lang="en-US" dirty="0" err="1"/>
              <a:t>betyr</a:t>
            </a:r>
            <a:r>
              <a:rPr lang="en-US" dirty="0"/>
              <a:t> for meg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praksis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hvordan</a:t>
            </a:r>
            <a:r>
              <a:rPr lang="en-US" dirty="0"/>
              <a:t> </a:t>
            </a:r>
            <a:r>
              <a:rPr lang="en-US" dirty="0" err="1"/>
              <a:t>jeg</a:t>
            </a:r>
            <a:r>
              <a:rPr lang="en-US" dirty="0"/>
              <a:t> </a:t>
            </a:r>
            <a:r>
              <a:rPr lang="en-US" dirty="0" err="1"/>
              <a:t>mener</a:t>
            </a:r>
            <a:r>
              <a:rPr lang="en-US" dirty="0"/>
              <a:t> </a:t>
            </a:r>
            <a:r>
              <a:rPr lang="en-US" dirty="0" err="1"/>
              <a:t>topplederne</a:t>
            </a:r>
            <a:r>
              <a:rPr lang="en-US" dirty="0"/>
              <a:t>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tenke</a:t>
            </a:r>
            <a:r>
              <a:rPr lang="en-US" dirty="0"/>
              <a:t> for å </a:t>
            </a:r>
            <a:r>
              <a:rPr lang="en-US" dirty="0" err="1"/>
              <a:t>sikre</a:t>
            </a:r>
            <a:r>
              <a:rPr lang="en-US" dirty="0"/>
              <a:t> </a:t>
            </a:r>
            <a:r>
              <a:rPr lang="en-US" dirty="0" err="1"/>
              <a:t>mer</a:t>
            </a:r>
            <a:r>
              <a:rPr lang="en-US" dirty="0"/>
              <a:t> kraft </a:t>
            </a:r>
            <a:r>
              <a:rPr lang="en-US" dirty="0" err="1"/>
              <a:t>raskere</a:t>
            </a:r>
            <a:r>
              <a:rPr lang="en-US" dirty="0"/>
              <a:t> </a:t>
            </a:r>
            <a:r>
              <a:rPr lang="en-US" dirty="0" err="1"/>
              <a:t>uten</a:t>
            </a:r>
            <a:r>
              <a:rPr lang="en-US" dirty="0"/>
              <a:t> </a:t>
            </a:r>
            <a:r>
              <a:rPr lang="en-US" dirty="0" err="1"/>
              <a:t>dødsfall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hvordan</a:t>
            </a:r>
            <a:r>
              <a:rPr lang="en-US" dirty="0"/>
              <a:t> </a:t>
            </a:r>
            <a:r>
              <a:rPr lang="en-US" dirty="0" err="1"/>
              <a:t>jeg</a:t>
            </a:r>
            <a:r>
              <a:rPr lang="en-US" dirty="0"/>
              <a:t> jobber med </a:t>
            </a:r>
            <a:r>
              <a:rPr lang="en-US" dirty="0" err="1"/>
              <a:t>dette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Lnett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954737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Som et bakteppe for disse refleksjonene har jeg bestemt meg for å bruke et eksempel fra en hendelse som jeg selv var ansvarlig for og som blant mange erfaringer har vært med på å forme mitt lederskap og mine tanker rundt alle aspekter av HMS og kvalitet.</a:t>
            </a:r>
          </a:p>
          <a:p>
            <a:endParaRPr lang="nb-NO" dirty="0"/>
          </a:p>
          <a:p>
            <a:r>
              <a:rPr lang="nb-NO" dirty="0"/>
              <a:t>- 2010 -</a:t>
            </a:r>
            <a:r>
              <a:rPr lang="nb-NO" dirty="0" err="1"/>
              <a:t>Nyhamna</a:t>
            </a:r>
            <a:r>
              <a:rPr lang="nb-NO" dirty="0"/>
              <a:t>, </a:t>
            </a:r>
            <a:r>
              <a:rPr lang="nb-NO" dirty="0" err="1"/>
              <a:t>carry-over</a:t>
            </a:r>
            <a:r>
              <a:rPr lang="nb-NO" dirty="0"/>
              <a:t>, </a:t>
            </a:r>
          </a:p>
          <a:p>
            <a:r>
              <a:rPr lang="nb-NO" dirty="0"/>
              <a:t>- ISO</a:t>
            </a:r>
          </a:p>
          <a:p>
            <a:r>
              <a:rPr lang="nb-NO" dirty="0"/>
              <a:t>- Rask oppbemanning</a:t>
            </a:r>
          </a:p>
          <a:p>
            <a:r>
              <a:rPr lang="nb-NO" dirty="0"/>
              <a:t>- Hendelser startet på våren</a:t>
            </a:r>
          </a:p>
          <a:p>
            <a:r>
              <a:rPr lang="nb-NO" dirty="0"/>
              <a:t>- 27.08 nær </a:t>
            </a:r>
            <a:r>
              <a:rPr lang="nb-NO" dirty="0" err="1"/>
              <a:t>dødsulukke</a:t>
            </a:r>
            <a:r>
              <a:rPr lang="nb-NO" dirty="0"/>
              <a:t> – bare flaks</a:t>
            </a:r>
          </a:p>
          <a:p>
            <a:r>
              <a:rPr lang="nb-NO" dirty="0"/>
              <a:t>- Full stopp</a:t>
            </a:r>
          </a:p>
          <a:p>
            <a:r>
              <a:rPr lang="nb-NO" dirty="0"/>
              <a:t>- Innovasjonsprosess = ny standard</a:t>
            </a:r>
          </a:p>
          <a:p>
            <a:r>
              <a:rPr lang="nb-NO" dirty="0"/>
              <a:t>- Ingen alvorlige hendelser</a:t>
            </a:r>
          </a:p>
          <a:p>
            <a:endParaRPr lang="nb-NO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95844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Når vi skal drive forbedringer, enten strategiske eller operasjonelle, er det viktig å sikre at vi forstår og adresserer helheten. </a:t>
            </a:r>
          </a:p>
          <a:p>
            <a:endParaRPr lang="nb-NO" dirty="0"/>
          </a:p>
          <a:p>
            <a:r>
              <a:rPr lang="nb-NO" dirty="0"/>
              <a:t>Dette er nødvendig for se sammenhengen mellom de målene vi setter og hva som må til for å styre risiko forbundet med å nå disse.</a:t>
            </a:r>
          </a:p>
          <a:p>
            <a:endParaRPr lang="nb-NO" dirty="0"/>
          </a:p>
          <a:p>
            <a:r>
              <a:rPr lang="nb-NO" dirty="0"/>
              <a:t>Det finnes mange modeller for dette, men jeg har blitt ekstra glad i den som jeg skal introdusere dere for nå. De av dere som har jobbet i eller for min tidligere arbeidsgiver, vil kjenne dere godt igjen her.</a:t>
            </a:r>
          </a:p>
          <a:p>
            <a:endParaRPr lang="nb-NO" dirty="0"/>
          </a:p>
          <a:p>
            <a:r>
              <a:rPr lang="nb-NO" dirty="0"/>
              <a:t>Struktur:</a:t>
            </a:r>
          </a:p>
          <a:p>
            <a:r>
              <a:rPr lang="nb-NO" dirty="0"/>
              <a:t>- De formelle strukturene i selskapet (organisering, styringssystem, instrukser, prosedyrer)</a:t>
            </a:r>
          </a:p>
          <a:p>
            <a:r>
              <a:rPr lang="nb-NO" dirty="0"/>
              <a:t>- Kontrakter og incentiver</a:t>
            </a:r>
          </a:p>
          <a:p>
            <a:r>
              <a:rPr lang="nb-NO" dirty="0"/>
              <a:t>- Også teknologi og utstyr (standardisering)</a:t>
            </a:r>
          </a:p>
          <a:p>
            <a:r>
              <a:rPr lang="nb-NO" dirty="0"/>
              <a:t>- Design</a:t>
            </a:r>
          </a:p>
          <a:p>
            <a:r>
              <a:rPr lang="nb-NO" dirty="0"/>
              <a:t>- Viktigst – budsjett og planer</a:t>
            </a:r>
          </a:p>
          <a:p>
            <a:r>
              <a:rPr lang="nb-NO" dirty="0"/>
              <a:t>= De rammebetingelsene vi som ledere setter og som påvirker den muligheten våre ansatte har for å jobbe trygt og effektivt.</a:t>
            </a:r>
          </a:p>
          <a:p>
            <a:endParaRPr lang="nb-NO" dirty="0"/>
          </a:p>
          <a:p>
            <a:r>
              <a:rPr lang="nb-NO" dirty="0" err="1"/>
              <a:t>Nyhamna</a:t>
            </a:r>
            <a:r>
              <a:rPr lang="nb-NO" dirty="0"/>
              <a:t>:</a:t>
            </a:r>
          </a:p>
          <a:p>
            <a:r>
              <a:rPr lang="nb-NO" dirty="0"/>
              <a:t>- Schedule-drevet (sommerkampanje), </a:t>
            </a:r>
          </a:p>
          <a:p>
            <a:r>
              <a:rPr lang="nb-NO" dirty="0"/>
              <a:t>- Rask oppbemanning</a:t>
            </a:r>
          </a:p>
          <a:p>
            <a:r>
              <a:rPr lang="nb-NO" dirty="0"/>
              <a:t>- Et presset marked (vanskelig å få tak i folk)</a:t>
            </a:r>
          </a:p>
          <a:p>
            <a:r>
              <a:rPr lang="nb-NO" dirty="0"/>
              <a:t>- 10k manuelle løft </a:t>
            </a:r>
            <a:r>
              <a:rPr lang="nb-NO" dirty="0" err="1"/>
              <a:t>vs</a:t>
            </a:r>
            <a:r>
              <a:rPr lang="nb-NO" dirty="0"/>
              <a:t> bruk av heiser</a:t>
            </a:r>
          </a:p>
          <a:p>
            <a:endParaRPr lang="nb-NO" dirty="0"/>
          </a:p>
          <a:p>
            <a:r>
              <a:rPr lang="nb-NO" dirty="0"/>
              <a:t>Oppsummert: Vi hadde ikke fullt ut forstått konsekvensene av de planene og de rammebetingelsene vi hadde gitt.</a:t>
            </a:r>
          </a:p>
          <a:p>
            <a:endParaRPr lang="nb-NO" dirty="0"/>
          </a:p>
          <a:p>
            <a:endParaRPr lang="nb-NO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34678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Et annet element som er lederens ansvar, er å sørge for at de som er involvert i arbeidet, har tilstrekkelig kompetanse og erfaring.</a:t>
            </a:r>
          </a:p>
          <a:p>
            <a:endParaRPr lang="nb-NO" dirty="0"/>
          </a:p>
          <a:p>
            <a:r>
              <a:rPr lang="nb-NO" dirty="0"/>
              <a:t>Det er ikke slik at dersom det står i instruksen, så har våre ansatte kompetansen til å utføre arbeidet sikkert. </a:t>
            </a:r>
          </a:p>
          <a:p>
            <a:endParaRPr lang="nb-NO" dirty="0"/>
          </a:p>
          <a:p>
            <a:r>
              <a:rPr lang="nb-NO" dirty="0"/>
              <a:t>Og der er ikke sikker at dersom det står i kontrakten, så vet leverandøren hvordan man skal møte kravene i praksis. </a:t>
            </a:r>
          </a:p>
          <a:p>
            <a:endParaRPr lang="nb-NO" dirty="0"/>
          </a:p>
          <a:p>
            <a:r>
              <a:rPr lang="nb-NO" dirty="0"/>
              <a:t>Som nevnt i tilfellet </a:t>
            </a:r>
            <a:r>
              <a:rPr lang="nb-NO" dirty="0" err="1"/>
              <a:t>Nyhamna</a:t>
            </a:r>
            <a:r>
              <a:rPr lang="nb-NO" dirty="0"/>
              <a:t>, var dette krevende i oljesektoren i 2010 som var på vei inn i en topp.</a:t>
            </a:r>
          </a:p>
          <a:p>
            <a:endParaRPr lang="nb-NO" dirty="0"/>
          </a:p>
          <a:p>
            <a:r>
              <a:rPr lang="nb-NO" dirty="0"/>
              <a:t>Jeg tør påstå at kraftbransjen er, eller er på vei inn i, det samme, om ikke et enda mer krevende, scenario.</a:t>
            </a:r>
          </a:p>
          <a:p>
            <a:endParaRPr lang="nb-NO" dirty="0"/>
          </a:p>
          <a:p>
            <a:r>
              <a:rPr lang="nb-NO" dirty="0"/>
              <a:t>Så hva kan vi gjøre: kurs og opplæring og riktig utstyr, men også å anerkjenne at dette er en risikofaktor og legge opp våre planer deretter.</a:t>
            </a:r>
          </a:p>
          <a:p>
            <a:endParaRPr lang="nb-NO" dirty="0"/>
          </a:p>
          <a:p>
            <a:r>
              <a:rPr lang="nb-NO" dirty="0"/>
              <a:t>Må innrømme at jeg er bekymret når jeg ser investeringstakten vi nå går inn i…</a:t>
            </a:r>
            <a:endParaRPr lang="en-US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993139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HMS-kultur, </a:t>
            </a:r>
            <a:r>
              <a:rPr lang="en-US" dirty="0" err="1"/>
              <a:t>kvalitetskultur</a:t>
            </a:r>
            <a:r>
              <a:rPr lang="en-US" dirty="0"/>
              <a:t>, </a:t>
            </a:r>
            <a:r>
              <a:rPr lang="en-US" dirty="0" err="1"/>
              <a:t>etterlevelseslkultur</a:t>
            </a:r>
            <a:r>
              <a:rPr lang="en-US" dirty="0"/>
              <a:t> </a:t>
            </a:r>
            <a:r>
              <a:rPr lang="en-US" dirty="0" err="1"/>
              <a:t>osv</a:t>
            </a:r>
            <a:r>
              <a:rPr lang="en-US" dirty="0"/>
              <a:t> </a:t>
            </a:r>
            <a:r>
              <a:rPr lang="en-US" dirty="0" err="1"/>
              <a:t>osv</a:t>
            </a:r>
            <a:r>
              <a:rPr lang="en-US" dirty="0"/>
              <a:t> – </a:t>
            </a:r>
            <a:r>
              <a:rPr lang="en-US" dirty="0" err="1"/>
              <a:t>har</a:t>
            </a:r>
            <a:r>
              <a:rPr lang="en-US" dirty="0"/>
              <a:t> 1 kultur,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ulike</a:t>
            </a:r>
            <a:r>
              <a:rPr lang="en-US" dirty="0"/>
              <a:t> </a:t>
            </a:r>
            <a:r>
              <a:rPr lang="en-US" dirty="0" err="1"/>
              <a:t>måter</a:t>
            </a:r>
            <a:r>
              <a:rPr lang="en-US" dirty="0"/>
              <a:t> </a:t>
            </a:r>
            <a:r>
              <a:rPr lang="en-US" dirty="0" err="1"/>
              <a:t>gjør</a:t>
            </a:r>
            <a:r>
              <a:rPr lang="en-US" dirty="0"/>
              <a:t> </a:t>
            </a:r>
            <a:r>
              <a:rPr lang="en-US" dirty="0" err="1"/>
              <a:t>oss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stand </a:t>
            </a:r>
            <a:r>
              <a:rPr lang="en-US" dirty="0" err="1"/>
              <a:t>til</a:t>
            </a:r>
            <a:r>
              <a:rPr lang="en-US" dirty="0"/>
              <a:t> å </a:t>
            </a:r>
            <a:r>
              <a:rPr lang="en-US" dirty="0" err="1"/>
              <a:t>jobbe</a:t>
            </a:r>
            <a:r>
              <a:rPr lang="en-US" dirty="0"/>
              <a:t> </a:t>
            </a:r>
            <a:r>
              <a:rPr lang="en-US" dirty="0" err="1"/>
              <a:t>bedre</a:t>
            </a:r>
            <a:r>
              <a:rPr lang="en-US" dirty="0"/>
              <a:t> med </a:t>
            </a:r>
            <a:r>
              <a:rPr lang="en-US" dirty="0" err="1"/>
              <a:t>sikkerhet</a:t>
            </a:r>
            <a:r>
              <a:rPr lang="en-US" dirty="0"/>
              <a:t> </a:t>
            </a:r>
            <a:r>
              <a:rPr lang="en-US" dirty="0" err="1"/>
              <a:t>osv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Det er </a:t>
            </a:r>
            <a:r>
              <a:rPr lang="en-US" dirty="0" err="1"/>
              <a:t>lederens</a:t>
            </a:r>
            <a:r>
              <a:rPr lang="en-US" dirty="0"/>
              <a:t> </a:t>
            </a:r>
            <a:r>
              <a:rPr lang="en-US" dirty="0" err="1"/>
              <a:t>ansvar</a:t>
            </a:r>
            <a:r>
              <a:rPr lang="en-US" dirty="0"/>
              <a:t> å </a:t>
            </a:r>
            <a:r>
              <a:rPr lang="en-US" dirty="0" err="1"/>
              <a:t>vær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rollemodell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påvirke</a:t>
            </a:r>
            <a:r>
              <a:rPr lang="en-US" dirty="0"/>
              <a:t> </a:t>
            </a:r>
            <a:r>
              <a:rPr lang="en-US" dirty="0" err="1"/>
              <a:t>kulturen</a:t>
            </a:r>
            <a:r>
              <a:rPr lang="en-US" dirty="0"/>
              <a:t>. </a:t>
            </a:r>
          </a:p>
          <a:p>
            <a:endParaRPr lang="en-US" dirty="0"/>
          </a:p>
          <a:p>
            <a:r>
              <a:rPr lang="en-US" dirty="0"/>
              <a:t>Mange </a:t>
            </a:r>
            <a:r>
              <a:rPr lang="en-US" dirty="0" err="1"/>
              <a:t>rammeverk</a:t>
            </a:r>
            <a:r>
              <a:rPr lang="en-US" dirty="0"/>
              <a:t> for </a:t>
            </a:r>
            <a:r>
              <a:rPr lang="en-US" dirty="0" err="1"/>
              <a:t>dette</a:t>
            </a:r>
            <a:r>
              <a:rPr lang="en-US" dirty="0"/>
              <a:t> (Reason++).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416759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Ett</a:t>
            </a:r>
            <a:r>
              <a:rPr lang="en-US" dirty="0"/>
              <a:t> av de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jeg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med meg er HOP: Human and Organizational Performanc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r </a:t>
            </a:r>
            <a:r>
              <a:rPr lang="en-US" dirty="0" err="1"/>
              <a:t>bygget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grunnleggende</a:t>
            </a:r>
            <a:r>
              <a:rPr lang="en-US" dirty="0"/>
              <a:t> </a:t>
            </a:r>
            <a:r>
              <a:rPr lang="en-US" dirty="0" err="1"/>
              <a:t>tanke</a:t>
            </a:r>
            <a:r>
              <a:rPr lang="en-US" dirty="0"/>
              <a:t> om at vi </a:t>
            </a:r>
            <a:r>
              <a:rPr lang="en-US" dirty="0" err="1"/>
              <a:t>mennesker</a:t>
            </a:r>
            <a:r>
              <a:rPr lang="en-US" dirty="0"/>
              <a:t> </a:t>
            </a:r>
            <a:r>
              <a:rPr lang="en-US" dirty="0" err="1"/>
              <a:t>gjør</a:t>
            </a:r>
            <a:r>
              <a:rPr lang="en-US" dirty="0"/>
              <a:t> </a:t>
            </a:r>
            <a:r>
              <a:rPr lang="en-US" dirty="0" err="1"/>
              <a:t>feil</a:t>
            </a: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Fokuserer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å </a:t>
            </a:r>
            <a:r>
              <a:rPr lang="en-US" dirty="0" err="1"/>
              <a:t>forstå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forbedre</a:t>
            </a:r>
            <a:r>
              <a:rPr lang="en-US" dirty="0"/>
              <a:t> </a:t>
            </a:r>
            <a:r>
              <a:rPr lang="en-US" dirty="0" err="1"/>
              <a:t>enkeltperso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organisasjoners</a:t>
            </a:r>
            <a:r>
              <a:rPr lang="en-US" dirty="0"/>
              <a:t> even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operere</a:t>
            </a:r>
            <a:r>
              <a:rPr lang="en-US" dirty="0"/>
              <a:t> </a:t>
            </a:r>
            <a:r>
              <a:rPr lang="en-US" dirty="0" err="1"/>
              <a:t>sikkert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komplekse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risikofylte</a:t>
            </a:r>
            <a:r>
              <a:rPr lang="en-US" dirty="0"/>
              <a:t> </a:t>
            </a:r>
            <a:r>
              <a:rPr lang="en-US" dirty="0" err="1"/>
              <a:t>situasjoner</a:t>
            </a:r>
            <a:r>
              <a:rPr lang="en-U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Legger </a:t>
            </a:r>
            <a:r>
              <a:rPr lang="en-US" dirty="0" err="1"/>
              <a:t>også</a:t>
            </a:r>
            <a:r>
              <a:rPr lang="en-US" dirty="0"/>
              <a:t> </a:t>
            </a:r>
            <a:r>
              <a:rPr lang="en-US" dirty="0" err="1"/>
              <a:t>vekt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åpenhet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tillit</a:t>
            </a:r>
            <a:r>
              <a:rPr lang="en-US" dirty="0"/>
              <a:t> for å </a:t>
            </a:r>
            <a:r>
              <a:rPr lang="en-US" dirty="0" err="1"/>
              <a:t>skape</a:t>
            </a:r>
            <a:r>
              <a:rPr lang="en-US" dirty="0"/>
              <a:t> et </a:t>
            </a:r>
            <a:r>
              <a:rPr lang="en-US" dirty="0" err="1"/>
              <a:t>klima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et </a:t>
            </a:r>
            <a:r>
              <a:rPr lang="en-US" dirty="0" err="1"/>
              <a:t>arbeidsmiljø</a:t>
            </a:r>
            <a:r>
              <a:rPr lang="en-US" dirty="0"/>
              <a:t> </a:t>
            </a:r>
            <a:r>
              <a:rPr lang="en-US" dirty="0" err="1"/>
              <a:t>hvor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føler</a:t>
            </a:r>
            <a:r>
              <a:rPr lang="en-US" dirty="0"/>
              <a:t> seg </a:t>
            </a:r>
            <a:r>
              <a:rPr lang="en-US" dirty="0" err="1"/>
              <a:t>trygg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si</a:t>
            </a:r>
            <a:r>
              <a:rPr lang="en-US" dirty="0"/>
              <a:t> </a:t>
            </a:r>
            <a:r>
              <a:rPr lang="en-US" dirty="0" err="1"/>
              <a:t>ifra</a:t>
            </a:r>
            <a:r>
              <a:rPr lang="en-US" dirty="0"/>
              <a:t> om ting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kjenner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i="0" dirty="0">
              <a:solidFill>
                <a:schemeClr val="tx2"/>
              </a:solidFill>
              <a:effectLst/>
              <a:latin typeface="Bierstadt Display" panose="020B0004020202020204" pitchFamily="34" charset="0"/>
            </a:endParaRPr>
          </a:p>
          <a:p>
            <a:endParaRPr lang="en-US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nb-NO"/>
              <a:t>458592_v1/SOLVEIGG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4C8D70-9812-684A-8AAA-FF39D47E912B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84526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www.siemens-energy.com/" TargetMode="External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8.sv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www.siemens-energy.com/" TargetMode="External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4.emf"/><Relationship Id="rId4" Type="http://schemas.openxmlformats.org/officeDocument/2006/relationships/image" Target="../media/image8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www.siemens-energy.com/" TargetMode="External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emf"/><Relationship Id="rId4" Type="http://schemas.openxmlformats.org/officeDocument/2006/relationships/image" Target="../media/image8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4" Type="http://schemas.openxmlformats.org/officeDocument/2006/relationships/image" Target="../media/image22.emf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ugust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EBAF4960-C73A-E349-AA79-131897FCD112}"/>
              </a:ext>
            </a:extLst>
          </p:cNvPr>
          <p:cNvSpPr>
            <a:spLocks/>
          </p:cNvSpPr>
          <p:nvPr userDrawn="1"/>
        </p:nvSpPr>
        <p:spPr>
          <a:xfrm>
            <a:off x="4792306" y="1623522"/>
            <a:ext cx="6991963" cy="6991960"/>
          </a:xfrm>
          <a:prstGeom prst="rect">
            <a:avLst/>
          </a:prstGeom>
          <a:gradFill flip="none" rotWithShape="1">
            <a:gsLst>
              <a:gs pos="71000">
                <a:schemeClr val="bg1">
                  <a:alpha val="0"/>
                </a:schemeClr>
              </a:gs>
              <a:gs pos="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35923A9-44C3-6047-9189-8FC826E6DC6B}"/>
              </a:ext>
            </a:extLst>
          </p:cNvPr>
          <p:cNvGrpSpPr/>
          <p:nvPr userDrawn="1"/>
        </p:nvGrpSpPr>
        <p:grpSpPr>
          <a:xfrm>
            <a:off x="4331156" y="-1367588"/>
            <a:ext cx="3821787" cy="4297959"/>
            <a:chOff x="67468" y="1003645"/>
            <a:chExt cx="3821787" cy="4297959"/>
          </a:xfrm>
        </p:grpSpPr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FCD5299B-AD04-D049-941A-2AE7C286F4B1}"/>
                </a:ext>
              </a:extLst>
            </p:cNvPr>
            <p:cNvSpPr/>
            <p:nvPr/>
          </p:nvSpPr>
          <p:spPr>
            <a:xfrm rot="18010104">
              <a:off x="67102" y="4313208"/>
              <a:ext cx="168719" cy="167987"/>
            </a:xfrm>
            <a:custGeom>
              <a:avLst/>
              <a:gdLst>
                <a:gd name="connsiteX0" fmla="*/ 168720 w 168719"/>
                <a:gd name="connsiteY0" fmla="*/ 83988 h 167987"/>
                <a:gd name="connsiteX1" fmla="*/ 84732 w 168719"/>
                <a:gd name="connsiteY1" fmla="*/ 167977 h 167987"/>
                <a:gd name="connsiteX2" fmla="*/ 0 w 168719"/>
                <a:gd name="connsiteY2" fmla="*/ 83988 h 167987"/>
                <a:gd name="connsiteX3" fmla="*/ 83988 w 168719"/>
                <a:gd name="connsiteY3" fmla="*/ 0 h 167987"/>
                <a:gd name="connsiteX4" fmla="*/ 168720 w 168719"/>
                <a:gd name="connsiteY4" fmla="*/ 83988 h 167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719" h="167987">
                  <a:moveTo>
                    <a:pt x="168720" y="83988"/>
                  </a:moveTo>
                  <a:cubicBezTo>
                    <a:pt x="168720" y="130814"/>
                    <a:pt x="130814" y="167977"/>
                    <a:pt x="84732" y="167977"/>
                  </a:cubicBezTo>
                  <a:cubicBezTo>
                    <a:pt x="37906" y="168720"/>
                    <a:pt x="0" y="130814"/>
                    <a:pt x="0" y="83988"/>
                  </a:cubicBezTo>
                  <a:cubicBezTo>
                    <a:pt x="0" y="37163"/>
                    <a:pt x="37906" y="0"/>
                    <a:pt x="83988" y="0"/>
                  </a:cubicBezTo>
                  <a:cubicBezTo>
                    <a:pt x="130814" y="0"/>
                    <a:pt x="168720" y="37906"/>
                    <a:pt x="168720" y="83988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3" name="Freihandform: Form 11">
              <a:extLst>
                <a:ext uri="{FF2B5EF4-FFF2-40B4-BE49-F238E27FC236}">
                  <a16:creationId xmlns:a16="http://schemas.microsoft.com/office/drawing/2014/main" id="{75935259-3BBB-1D47-80B3-A9E29A11AE64}"/>
                </a:ext>
              </a:extLst>
            </p:cNvPr>
            <p:cNvSpPr/>
            <p:nvPr/>
          </p:nvSpPr>
          <p:spPr>
            <a:xfrm rot="18010104">
              <a:off x="3804524" y="1175743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4" name="Freihandform: Form 12">
              <a:extLst>
                <a:ext uri="{FF2B5EF4-FFF2-40B4-BE49-F238E27FC236}">
                  <a16:creationId xmlns:a16="http://schemas.microsoft.com/office/drawing/2014/main" id="{6240EC3A-2070-F64D-B81D-78C24A95DA8E}"/>
                </a:ext>
              </a:extLst>
            </p:cNvPr>
            <p:cNvSpPr/>
            <p:nvPr/>
          </p:nvSpPr>
          <p:spPr>
            <a:xfrm rot="18010104">
              <a:off x="1780418" y="1627458"/>
              <a:ext cx="84731" cy="84731"/>
            </a:xfrm>
            <a:custGeom>
              <a:avLst/>
              <a:gdLst>
                <a:gd name="connsiteX0" fmla="*/ 84731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1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1" y="42366"/>
                  </a:moveTo>
                  <a:cubicBezTo>
                    <a:pt x="84731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5407" y="743"/>
                    <a:pt x="84731" y="19325"/>
                    <a:pt x="84731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5" name="Freihandform: Form 13">
              <a:extLst>
                <a:ext uri="{FF2B5EF4-FFF2-40B4-BE49-F238E27FC236}">
                  <a16:creationId xmlns:a16="http://schemas.microsoft.com/office/drawing/2014/main" id="{604213E9-8F2A-F947-8B37-25B38AFADDD7}"/>
                </a:ext>
              </a:extLst>
            </p:cNvPr>
            <p:cNvSpPr/>
            <p:nvPr/>
          </p:nvSpPr>
          <p:spPr>
            <a:xfrm rot="18010104">
              <a:off x="378265" y="2594155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6" name="Freihandform: Form 14">
              <a:extLst>
                <a:ext uri="{FF2B5EF4-FFF2-40B4-BE49-F238E27FC236}">
                  <a16:creationId xmlns:a16="http://schemas.microsoft.com/office/drawing/2014/main" id="{B72B6ACC-A6A3-594C-BF27-6F090A25ED3D}"/>
                </a:ext>
              </a:extLst>
            </p:cNvPr>
            <p:cNvSpPr/>
            <p:nvPr/>
          </p:nvSpPr>
          <p:spPr>
            <a:xfrm rot="18010104">
              <a:off x="2838863" y="1003645"/>
              <a:ext cx="41622" cy="41622"/>
            </a:xfrm>
            <a:custGeom>
              <a:avLst/>
              <a:gdLst>
                <a:gd name="connsiteX0" fmla="*/ 41623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3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3" y="20811"/>
                  </a:moveTo>
                  <a:cubicBezTo>
                    <a:pt x="41623" y="32703"/>
                    <a:pt x="31960" y="41623"/>
                    <a:pt x="20811" y="41623"/>
                  </a:cubicBezTo>
                  <a:cubicBezTo>
                    <a:pt x="9662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3" y="9662"/>
                    <a:pt x="41623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7" name="Freihandform: Form 15">
              <a:extLst>
                <a:ext uri="{FF2B5EF4-FFF2-40B4-BE49-F238E27FC236}">
                  <a16:creationId xmlns:a16="http://schemas.microsoft.com/office/drawing/2014/main" id="{CCA41486-370F-A746-BE23-06EB8E060578}"/>
                </a:ext>
              </a:extLst>
            </p:cNvPr>
            <p:cNvSpPr/>
            <p:nvPr/>
          </p:nvSpPr>
          <p:spPr>
            <a:xfrm rot="18010104">
              <a:off x="779475" y="5259982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8" name="Freihandform: Form 16">
              <a:extLst>
                <a:ext uri="{FF2B5EF4-FFF2-40B4-BE49-F238E27FC236}">
                  <a16:creationId xmlns:a16="http://schemas.microsoft.com/office/drawing/2014/main" id="{B02E3FE5-7F96-B64A-B727-BD2DDF8F9033}"/>
                </a:ext>
              </a:extLst>
            </p:cNvPr>
            <p:cNvSpPr/>
            <p:nvPr/>
          </p:nvSpPr>
          <p:spPr>
            <a:xfrm rot="18010104">
              <a:off x="2305919" y="4441256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19" name="Grafik 18" descr="Ein Bild, das Stern enthält.&#10;&#10;Automatisch generierte Beschreibung">
            <a:extLst>
              <a:ext uri="{FF2B5EF4-FFF2-40B4-BE49-F238E27FC236}">
                <a16:creationId xmlns:a16="http://schemas.microsoft.com/office/drawing/2014/main" id="{71EA36E8-27E7-A644-88CA-F941B23DA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67"/>
          <a:stretch/>
        </p:blipFill>
        <p:spPr>
          <a:xfrm rot="20424227" flipH="1">
            <a:off x="5878827" y="686074"/>
            <a:ext cx="5085041" cy="5395150"/>
          </a:xfrm>
          <a:prstGeom prst="rect">
            <a:avLst/>
          </a:prstGeom>
        </p:spPr>
      </p:pic>
      <p:sp>
        <p:nvSpPr>
          <p:cNvPr id="7" name="Copyright">
            <a:extLst>
              <a:ext uri="{FF2B5EF4-FFF2-40B4-BE49-F238E27FC236}">
                <a16:creationId xmlns:a16="http://schemas.microsoft.com/office/drawing/2014/main" id="{176C2D82-58F6-4664-863F-B544B8525EBB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1</a:t>
            </a:r>
          </a:p>
        </p:txBody>
      </p:sp>
    </p:spTree>
    <p:extLst>
      <p:ext uri="{BB962C8B-B14F-4D97-AF65-F5344CB8AC3E}">
        <p14:creationId xmlns:p14="http://schemas.microsoft.com/office/powerpoint/2010/main" val="36855835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103522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4462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03598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27826ABC-B0B5-42A8-83E0-A64A285DEA00}"/>
              </a:ext>
            </a:extLst>
          </p:cNvPr>
          <p:cNvSpPr/>
          <p:nvPr userDrawn="1"/>
        </p:nvSpPr>
        <p:spPr>
          <a:xfrm>
            <a:off x="0" y="12526"/>
            <a:ext cx="12191999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August 2020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A432E29C-E7B9-433A-A0CC-FB53AB8DBB2B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20583207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9FE7FA8-1217-4A54-AB03-6D45560D6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3546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9FE7FA8-1217-4A54-AB03-6D45560D6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4935157-AA5E-4794-8AD4-0C9B740F5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97" t="-4" r="1" b="-1"/>
          <a:stretch/>
        </p:blipFill>
        <p:spPr bwMode="invGray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#›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August 2020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665B9EEF-9ADF-4102-B01A-777A9A9D159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39240451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2"/>
                </a:solidFill>
              </a:rPr>
              <a:t>‹#›</a:t>
            </a:fld>
            <a:endParaRPr lang="en-US" sz="1000" b="1" noProof="0">
              <a:solidFill>
                <a:schemeClr val="bg2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August 2020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B980F6DA-6A5A-42D7-89C2-7B16920806C0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36028183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049" t="-4" r="1" b="-1"/>
          <a:stretch/>
        </p:blipFill>
        <p:spPr bwMode="invGray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292000" y="6166800"/>
            <a:ext cx="900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14E631F1-D70A-4B5B-979E-D29B440794BE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37331844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August 2020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469155D-ED95-4B2C-8F4B-C576FA4EDBD9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7870903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256"/>
          <a:stretch/>
        </p:blipFill>
        <p:spPr bwMode="invGray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August 2020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DAAF011D-8650-430A-AC08-DEB2D438351D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22470358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hlinkClick r:id="rId2"/>
            <a:extLst>
              <a:ext uri="{FF2B5EF4-FFF2-40B4-BE49-F238E27FC236}">
                <a16:creationId xmlns:a16="http://schemas.microsoft.com/office/drawing/2014/main" id="{281FD3DE-3D3F-4936-81A7-AD286FE4E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6971" t="33492" r="42185" b="37637"/>
          <a:stretch/>
        </p:blipFill>
        <p:spPr bwMode="invGray">
          <a:xfrm>
            <a:off x="1358" y="1414800"/>
            <a:ext cx="6098400" cy="4752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2049" y="1414800"/>
            <a:ext cx="5472113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9689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ugust 2020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3159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ugust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EBAF4960-C73A-E349-AA79-131897FCD112}"/>
              </a:ext>
            </a:extLst>
          </p:cNvPr>
          <p:cNvSpPr>
            <a:spLocks/>
          </p:cNvSpPr>
          <p:nvPr userDrawn="1"/>
        </p:nvSpPr>
        <p:spPr>
          <a:xfrm>
            <a:off x="4792306" y="1623522"/>
            <a:ext cx="6991963" cy="6991960"/>
          </a:xfrm>
          <a:prstGeom prst="rect">
            <a:avLst/>
          </a:prstGeom>
          <a:gradFill flip="none" rotWithShape="1">
            <a:gsLst>
              <a:gs pos="71000">
                <a:schemeClr val="bg1">
                  <a:alpha val="0"/>
                </a:schemeClr>
              </a:gs>
              <a:gs pos="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35923A9-44C3-6047-9189-8FC826E6DC6B}"/>
              </a:ext>
            </a:extLst>
          </p:cNvPr>
          <p:cNvGrpSpPr/>
          <p:nvPr userDrawn="1"/>
        </p:nvGrpSpPr>
        <p:grpSpPr>
          <a:xfrm>
            <a:off x="4331156" y="-1367588"/>
            <a:ext cx="3821787" cy="4297959"/>
            <a:chOff x="67468" y="1003645"/>
            <a:chExt cx="3821787" cy="4297959"/>
          </a:xfrm>
        </p:grpSpPr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FCD5299B-AD04-D049-941A-2AE7C286F4B1}"/>
                </a:ext>
              </a:extLst>
            </p:cNvPr>
            <p:cNvSpPr/>
            <p:nvPr/>
          </p:nvSpPr>
          <p:spPr>
            <a:xfrm rot="18010104">
              <a:off x="67102" y="4313208"/>
              <a:ext cx="168719" cy="167987"/>
            </a:xfrm>
            <a:custGeom>
              <a:avLst/>
              <a:gdLst>
                <a:gd name="connsiteX0" fmla="*/ 168720 w 168719"/>
                <a:gd name="connsiteY0" fmla="*/ 83988 h 167987"/>
                <a:gd name="connsiteX1" fmla="*/ 84732 w 168719"/>
                <a:gd name="connsiteY1" fmla="*/ 167977 h 167987"/>
                <a:gd name="connsiteX2" fmla="*/ 0 w 168719"/>
                <a:gd name="connsiteY2" fmla="*/ 83988 h 167987"/>
                <a:gd name="connsiteX3" fmla="*/ 83988 w 168719"/>
                <a:gd name="connsiteY3" fmla="*/ 0 h 167987"/>
                <a:gd name="connsiteX4" fmla="*/ 168720 w 168719"/>
                <a:gd name="connsiteY4" fmla="*/ 83988 h 167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719" h="167987">
                  <a:moveTo>
                    <a:pt x="168720" y="83988"/>
                  </a:moveTo>
                  <a:cubicBezTo>
                    <a:pt x="168720" y="130814"/>
                    <a:pt x="130814" y="167977"/>
                    <a:pt x="84732" y="167977"/>
                  </a:cubicBezTo>
                  <a:cubicBezTo>
                    <a:pt x="37906" y="168720"/>
                    <a:pt x="0" y="130814"/>
                    <a:pt x="0" y="83988"/>
                  </a:cubicBezTo>
                  <a:cubicBezTo>
                    <a:pt x="0" y="37163"/>
                    <a:pt x="37906" y="0"/>
                    <a:pt x="83988" y="0"/>
                  </a:cubicBezTo>
                  <a:cubicBezTo>
                    <a:pt x="130814" y="0"/>
                    <a:pt x="168720" y="37906"/>
                    <a:pt x="168720" y="83988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3" name="Freihandform: Form 11">
              <a:extLst>
                <a:ext uri="{FF2B5EF4-FFF2-40B4-BE49-F238E27FC236}">
                  <a16:creationId xmlns:a16="http://schemas.microsoft.com/office/drawing/2014/main" id="{75935259-3BBB-1D47-80B3-A9E29A11AE64}"/>
                </a:ext>
              </a:extLst>
            </p:cNvPr>
            <p:cNvSpPr/>
            <p:nvPr/>
          </p:nvSpPr>
          <p:spPr>
            <a:xfrm rot="18010104">
              <a:off x="3804524" y="1175743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4" name="Freihandform: Form 12">
              <a:extLst>
                <a:ext uri="{FF2B5EF4-FFF2-40B4-BE49-F238E27FC236}">
                  <a16:creationId xmlns:a16="http://schemas.microsoft.com/office/drawing/2014/main" id="{6240EC3A-2070-F64D-B81D-78C24A95DA8E}"/>
                </a:ext>
              </a:extLst>
            </p:cNvPr>
            <p:cNvSpPr/>
            <p:nvPr/>
          </p:nvSpPr>
          <p:spPr>
            <a:xfrm rot="18010104">
              <a:off x="1780418" y="1627458"/>
              <a:ext cx="84731" cy="84731"/>
            </a:xfrm>
            <a:custGeom>
              <a:avLst/>
              <a:gdLst>
                <a:gd name="connsiteX0" fmla="*/ 84731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1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1" y="42366"/>
                  </a:moveTo>
                  <a:cubicBezTo>
                    <a:pt x="84731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5407" y="743"/>
                    <a:pt x="84731" y="19325"/>
                    <a:pt x="84731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5" name="Freihandform: Form 13">
              <a:extLst>
                <a:ext uri="{FF2B5EF4-FFF2-40B4-BE49-F238E27FC236}">
                  <a16:creationId xmlns:a16="http://schemas.microsoft.com/office/drawing/2014/main" id="{604213E9-8F2A-F947-8B37-25B38AFADDD7}"/>
                </a:ext>
              </a:extLst>
            </p:cNvPr>
            <p:cNvSpPr/>
            <p:nvPr/>
          </p:nvSpPr>
          <p:spPr>
            <a:xfrm rot="18010104">
              <a:off x="378265" y="2594155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6" name="Freihandform: Form 14">
              <a:extLst>
                <a:ext uri="{FF2B5EF4-FFF2-40B4-BE49-F238E27FC236}">
                  <a16:creationId xmlns:a16="http://schemas.microsoft.com/office/drawing/2014/main" id="{B72B6ACC-A6A3-594C-BF27-6F090A25ED3D}"/>
                </a:ext>
              </a:extLst>
            </p:cNvPr>
            <p:cNvSpPr/>
            <p:nvPr/>
          </p:nvSpPr>
          <p:spPr>
            <a:xfrm rot="18010104">
              <a:off x="2838863" y="1003645"/>
              <a:ext cx="41622" cy="41622"/>
            </a:xfrm>
            <a:custGeom>
              <a:avLst/>
              <a:gdLst>
                <a:gd name="connsiteX0" fmla="*/ 41623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3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3" y="20811"/>
                  </a:moveTo>
                  <a:cubicBezTo>
                    <a:pt x="41623" y="32703"/>
                    <a:pt x="31960" y="41623"/>
                    <a:pt x="20811" y="41623"/>
                  </a:cubicBezTo>
                  <a:cubicBezTo>
                    <a:pt x="9662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3" y="9662"/>
                    <a:pt x="41623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7" name="Freihandform: Form 15">
              <a:extLst>
                <a:ext uri="{FF2B5EF4-FFF2-40B4-BE49-F238E27FC236}">
                  <a16:creationId xmlns:a16="http://schemas.microsoft.com/office/drawing/2014/main" id="{CCA41486-370F-A746-BE23-06EB8E060578}"/>
                </a:ext>
              </a:extLst>
            </p:cNvPr>
            <p:cNvSpPr/>
            <p:nvPr/>
          </p:nvSpPr>
          <p:spPr>
            <a:xfrm rot="18010104">
              <a:off x="779475" y="5259982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8" name="Freihandform: Form 16">
              <a:extLst>
                <a:ext uri="{FF2B5EF4-FFF2-40B4-BE49-F238E27FC236}">
                  <a16:creationId xmlns:a16="http://schemas.microsoft.com/office/drawing/2014/main" id="{B02E3FE5-7F96-B64A-B727-BD2DDF8F9033}"/>
                </a:ext>
              </a:extLst>
            </p:cNvPr>
            <p:cNvSpPr/>
            <p:nvPr/>
          </p:nvSpPr>
          <p:spPr>
            <a:xfrm rot="18010104">
              <a:off x="2305919" y="4441256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19" name="Grafik 18" descr="Ein Bild, das Stern enthält.&#10;&#10;Automatisch generierte Beschreibung">
            <a:extLst>
              <a:ext uri="{FF2B5EF4-FFF2-40B4-BE49-F238E27FC236}">
                <a16:creationId xmlns:a16="http://schemas.microsoft.com/office/drawing/2014/main" id="{71EA36E8-27E7-A644-88CA-F941B23DA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67"/>
          <a:stretch/>
        </p:blipFill>
        <p:spPr>
          <a:xfrm rot="20424227" flipH="1">
            <a:off x="5878827" y="686074"/>
            <a:ext cx="5085041" cy="5395150"/>
          </a:xfrm>
          <a:prstGeom prst="rect">
            <a:avLst/>
          </a:prstGeom>
        </p:spPr>
      </p:pic>
      <p:sp>
        <p:nvSpPr>
          <p:cNvPr id="7" name="Copyright">
            <a:extLst>
              <a:ext uri="{FF2B5EF4-FFF2-40B4-BE49-F238E27FC236}">
                <a16:creationId xmlns:a16="http://schemas.microsoft.com/office/drawing/2014/main" id="{176C2D82-58F6-4664-863F-B544B8525EBB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1</a:t>
            </a:r>
          </a:p>
        </p:txBody>
      </p:sp>
    </p:spTree>
    <p:extLst>
      <p:ext uri="{BB962C8B-B14F-4D97-AF65-F5344CB8AC3E}">
        <p14:creationId xmlns:p14="http://schemas.microsoft.com/office/powerpoint/2010/main" val="1362797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ugust 2020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1340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11517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167816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DD39686-C426-4B02-B953-AC0AC4016A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4232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619604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985678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861246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661030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500249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445306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51262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86041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27826ABC-B0B5-42A8-83E0-A64A285DEA00}"/>
              </a:ext>
            </a:extLst>
          </p:cNvPr>
          <p:cNvSpPr/>
          <p:nvPr userDrawn="1"/>
        </p:nvSpPr>
        <p:spPr>
          <a:xfrm>
            <a:off x="0" y="12526"/>
            <a:ext cx="12191999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August 2020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A432E29C-E7B9-433A-A0CC-FB53AB8DBB2B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35479259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9FE7FA8-1217-4A54-AB03-6D45560D6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9586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9FE7FA8-1217-4A54-AB03-6D45560D6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4935157-AA5E-4794-8AD4-0C9B740F5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97" t="-4" r="1" b="-1"/>
          <a:stretch/>
        </p:blipFill>
        <p:spPr bwMode="invGray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#›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August 2020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665B9EEF-9ADF-4102-B01A-777A9A9D159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1612918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2"/>
                </a:solidFill>
              </a:rPr>
              <a:t>‹#›</a:t>
            </a:fld>
            <a:endParaRPr lang="en-US" sz="1000" b="1" noProof="0">
              <a:solidFill>
                <a:schemeClr val="bg2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August 2020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B980F6DA-6A5A-42D7-89C2-7B16920806C0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2079733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049" t="-4" r="1" b="-1"/>
          <a:stretch/>
        </p:blipFill>
        <p:spPr bwMode="invGray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292000" y="6166800"/>
            <a:ext cx="900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14E631F1-D70A-4B5B-979E-D29B440794BE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242966268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August 2020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469155D-ED95-4B2C-8F4B-C576FA4EDBD9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4101899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256"/>
          <a:stretch/>
        </p:blipFill>
        <p:spPr bwMode="invGray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August 2020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DAAF011D-8650-430A-AC08-DEB2D438351D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9255494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hlinkClick r:id="rId2"/>
            <a:extLst>
              <a:ext uri="{FF2B5EF4-FFF2-40B4-BE49-F238E27FC236}">
                <a16:creationId xmlns:a16="http://schemas.microsoft.com/office/drawing/2014/main" id="{281FD3DE-3D3F-4936-81A7-AD286FE4E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6971" t="33492" r="42185" b="37637"/>
          <a:stretch/>
        </p:blipFill>
        <p:spPr bwMode="invGray">
          <a:xfrm>
            <a:off x="1358" y="1414800"/>
            <a:ext cx="6098400" cy="4752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2049" y="1414800"/>
            <a:ext cx="5472113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4177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pictur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2" y="1414800"/>
            <a:ext cx="5614988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627064" y="4528800"/>
            <a:ext cx="5614986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ugust 2020</a:t>
            </a:r>
          </a:p>
        </p:txBody>
      </p:sp>
      <p:sp>
        <p:nvSpPr>
          <p:cNvPr id="9" name="License statement">
            <a:extLst>
              <a:ext uri="{FF2B5EF4-FFF2-40B4-BE49-F238E27FC236}">
                <a16:creationId xmlns:a16="http://schemas.microsoft.com/office/drawing/2014/main" id="{239D0E4B-66A6-4FE5-BA27-541046B3DA99}"/>
              </a:ext>
            </a:extLst>
          </p:cNvPr>
          <p:cNvSpPr txBox="1"/>
          <p:nvPr userDrawn="1"/>
        </p:nvSpPr>
        <p:spPr>
          <a:xfrm>
            <a:off x="627063" y="6526800"/>
            <a:ext cx="5468936" cy="3312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accent6"/>
                </a:solidFill>
              </a:rPr>
              <a:t>Siemens Energy is a registered trademark licensed by Siemens AG.</a:t>
            </a: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BDE6CC66-01ED-4C38-82FB-6CE0F487EF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40000" cy="496808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EBAF4960-C73A-E349-AA79-131897FCD112}"/>
              </a:ext>
            </a:extLst>
          </p:cNvPr>
          <p:cNvSpPr>
            <a:spLocks/>
          </p:cNvSpPr>
          <p:nvPr userDrawn="1"/>
        </p:nvSpPr>
        <p:spPr>
          <a:xfrm>
            <a:off x="4792306" y="1623522"/>
            <a:ext cx="6991963" cy="6991960"/>
          </a:xfrm>
          <a:prstGeom prst="rect">
            <a:avLst/>
          </a:prstGeom>
          <a:gradFill flip="none" rotWithShape="1">
            <a:gsLst>
              <a:gs pos="71000">
                <a:schemeClr val="bg1">
                  <a:alpha val="0"/>
                </a:schemeClr>
              </a:gs>
              <a:gs pos="0">
                <a:schemeClr val="accent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35923A9-44C3-6047-9189-8FC826E6DC6B}"/>
              </a:ext>
            </a:extLst>
          </p:cNvPr>
          <p:cNvGrpSpPr/>
          <p:nvPr userDrawn="1"/>
        </p:nvGrpSpPr>
        <p:grpSpPr>
          <a:xfrm>
            <a:off x="4331156" y="-1367588"/>
            <a:ext cx="3821787" cy="4297959"/>
            <a:chOff x="67468" y="1003645"/>
            <a:chExt cx="3821787" cy="4297959"/>
          </a:xfrm>
        </p:grpSpPr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FCD5299B-AD04-D049-941A-2AE7C286F4B1}"/>
                </a:ext>
              </a:extLst>
            </p:cNvPr>
            <p:cNvSpPr/>
            <p:nvPr/>
          </p:nvSpPr>
          <p:spPr>
            <a:xfrm rot="18010104">
              <a:off x="67102" y="4313208"/>
              <a:ext cx="168719" cy="167987"/>
            </a:xfrm>
            <a:custGeom>
              <a:avLst/>
              <a:gdLst>
                <a:gd name="connsiteX0" fmla="*/ 168720 w 168719"/>
                <a:gd name="connsiteY0" fmla="*/ 83988 h 167987"/>
                <a:gd name="connsiteX1" fmla="*/ 84732 w 168719"/>
                <a:gd name="connsiteY1" fmla="*/ 167977 h 167987"/>
                <a:gd name="connsiteX2" fmla="*/ 0 w 168719"/>
                <a:gd name="connsiteY2" fmla="*/ 83988 h 167987"/>
                <a:gd name="connsiteX3" fmla="*/ 83988 w 168719"/>
                <a:gd name="connsiteY3" fmla="*/ 0 h 167987"/>
                <a:gd name="connsiteX4" fmla="*/ 168720 w 168719"/>
                <a:gd name="connsiteY4" fmla="*/ 83988 h 167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719" h="167987">
                  <a:moveTo>
                    <a:pt x="168720" y="83988"/>
                  </a:moveTo>
                  <a:cubicBezTo>
                    <a:pt x="168720" y="130814"/>
                    <a:pt x="130814" y="167977"/>
                    <a:pt x="84732" y="167977"/>
                  </a:cubicBezTo>
                  <a:cubicBezTo>
                    <a:pt x="37906" y="168720"/>
                    <a:pt x="0" y="130814"/>
                    <a:pt x="0" y="83988"/>
                  </a:cubicBezTo>
                  <a:cubicBezTo>
                    <a:pt x="0" y="37163"/>
                    <a:pt x="37906" y="0"/>
                    <a:pt x="83988" y="0"/>
                  </a:cubicBezTo>
                  <a:cubicBezTo>
                    <a:pt x="130814" y="0"/>
                    <a:pt x="168720" y="37906"/>
                    <a:pt x="168720" y="83988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3" name="Freihandform: Form 11">
              <a:extLst>
                <a:ext uri="{FF2B5EF4-FFF2-40B4-BE49-F238E27FC236}">
                  <a16:creationId xmlns:a16="http://schemas.microsoft.com/office/drawing/2014/main" id="{75935259-3BBB-1D47-80B3-A9E29A11AE64}"/>
                </a:ext>
              </a:extLst>
            </p:cNvPr>
            <p:cNvSpPr/>
            <p:nvPr/>
          </p:nvSpPr>
          <p:spPr>
            <a:xfrm rot="18010104">
              <a:off x="3804524" y="1175743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4" name="Freihandform: Form 12">
              <a:extLst>
                <a:ext uri="{FF2B5EF4-FFF2-40B4-BE49-F238E27FC236}">
                  <a16:creationId xmlns:a16="http://schemas.microsoft.com/office/drawing/2014/main" id="{6240EC3A-2070-F64D-B81D-78C24A95DA8E}"/>
                </a:ext>
              </a:extLst>
            </p:cNvPr>
            <p:cNvSpPr/>
            <p:nvPr/>
          </p:nvSpPr>
          <p:spPr>
            <a:xfrm rot="18010104">
              <a:off x="1780418" y="1627458"/>
              <a:ext cx="84731" cy="84731"/>
            </a:xfrm>
            <a:custGeom>
              <a:avLst/>
              <a:gdLst>
                <a:gd name="connsiteX0" fmla="*/ 84731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1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1" y="42366"/>
                  </a:moveTo>
                  <a:cubicBezTo>
                    <a:pt x="84731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5407" y="743"/>
                    <a:pt x="84731" y="19325"/>
                    <a:pt x="84731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5" name="Freihandform: Form 13">
              <a:extLst>
                <a:ext uri="{FF2B5EF4-FFF2-40B4-BE49-F238E27FC236}">
                  <a16:creationId xmlns:a16="http://schemas.microsoft.com/office/drawing/2014/main" id="{604213E9-8F2A-F947-8B37-25B38AFADDD7}"/>
                </a:ext>
              </a:extLst>
            </p:cNvPr>
            <p:cNvSpPr/>
            <p:nvPr/>
          </p:nvSpPr>
          <p:spPr>
            <a:xfrm rot="18010104">
              <a:off x="378265" y="2594155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6" name="Freihandform: Form 14">
              <a:extLst>
                <a:ext uri="{FF2B5EF4-FFF2-40B4-BE49-F238E27FC236}">
                  <a16:creationId xmlns:a16="http://schemas.microsoft.com/office/drawing/2014/main" id="{B72B6ACC-A6A3-594C-BF27-6F090A25ED3D}"/>
                </a:ext>
              </a:extLst>
            </p:cNvPr>
            <p:cNvSpPr/>
            <p:nvPr/>
          </p:nvSpPr>
          <p:spPr>
            <a:xfrm rot="18010104">
              <a:off x="2838863" y="1003645"/>
              <a:ext cx="41622" cy="41622"/>
            </a:xfrm>
            <a:custGeom>
              <a:avLst/>
              <a:gdLst>
                <a:gd name="connsiteX0" fmla="*/ 41623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3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3" y="20811"/>
                  </a:moveTo>
                  <a:cubicBezTo>
                    <a:pt x="41623" y="32703"/>
                    <a:pt x="31960" y="41623"/>
                    <a:pt x="20811" y="41623"/>
                  </a:cubicBezTo>
                  <a:cubicBezTo>
                    <a:pt x="9662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3" y="9662"/>
                    <a:pt x="41623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7" name="Freihandform: Form 15">
              <a:extLst>
                <a:ext uri="{FF2B5EF4-FFF2-40B4-BE49-F238E27FC236}">
                  <a16:creationId xmlns:a16="http://schemas.microsoft.com/office/drawing/2014/main" id="{CCA41486-370F-A746-BE23-06EB8E060578}"/>
                </a:ext>
              </a:extLst>
            </p:cNvPr>
            <p:cNvSpPr/>
            <p:nvPr/>
          </p:nvSpPr>
          <p:spPr>
            <a:xfrm rot="18010104">
              <a:off x="779475" y="5259982"/>
              <a:ext cx="41622" cy="41622"/>
            </a:xfrm>
            <a:custGeom>
              <a:avLst/>
              <a:gdLst>
                <a:gd name="connsiteX0" fmla="*/ 41622 w 41622"/>
                <a:gd name="connsiteY0" fmla="*/ 20811 h 41622"/>
                <a:gd name="connsiteX1" fmla="*/ 20811 w 41622"/>
                <a:gd name="connsiteY1" fmla="*/ 41623 h 41622"/>
                <a:gd name="connsiteX2" fmla="*/ 0 w 41622"/>
                <a:gd name="connsiteY2" fmla="*/ 20811 h 41622"/>
                <a:gd name="connsiteX3" fmla="*/ 20811 w 41622"/>
                <a:gd name="connsiteY3" fmla="*/ 0 h 41622"/>
                <a:gd name="connsiteX4" fmla="*/ 41622 w 41622"/>
                <a:gd name="connsiteY4" fmla="*/ 20811 h 41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2" h="41622">
                  <a:moveTo>
                    <a:pt x="41622" y="20811"/>
                  </a:moveTo>
                  <a:cubicBezTo>
                    <a:pt x="41622" y="32703"/>
                    <a:pt x="31960" y="41623"/>
                    <a:pt x="20811" y="41623"/>
                  </a:cubicBezTo>
                  <a:cubicBezTo>
                    <a:pt x="8919" y="41623"/>
                    <a:pt x="0" y="31960"/>
                    <a:pt x="0" y="20811"/>
                  </a:cubicBezTo>
                  <a:cubicBezTo>
                    <a:pt x="0" y="8919"/>
                    <a:pt x="9662" y="0"/>
                    <a:pt x="20811" y="0"/>
                  </a:cubicBezTo>
                  <a:cubicBezTo>
                    <a:pt x="31960" y="0"/>
                    <a:pt x="41622" y="9662"/>
                    <a:pt x="41622" y="20811"/>
                  </a:cubicBezTo>
                </a:path>
              </a:pathLst>
            </a:custGeom>
            <a:solidFill>
              <a:srgbClr val="FFFFFF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  <p:sp>
          <p:nvSpPr>
            <p:cNvPr id="18" name="Freihandform: Form 16">
              <a:extLst>
                <a:ext uri="{FF2B5EF4-FFF2-40B4-BE49-F238E27FC236}">
                  <a16:creationId xmlns:a16="http://schemas.microsoft.com/office/drawing/2014/main" id="{B02E3FE5-7F96-B64A-B727-BD2DDF8F9033}"/>
                </a:ext>
              </a:extLst>
            </p:cNvPr>
            <p:cNvSpPr/>
            <p:nvPr/>
          </p:nvSpPr>
          <p:spPr>
            <a:xfrm rot="18010104">
              <a:off x="2305919" y="4441256"/>
              <a:ext cx="84731" cy="84731"/>
            </a:xfrm>
            <a:custGeom>
              <a:avLst/>
              <a:gdLst>
                <a:gd name="connsiteX0" fmla="*/ 84732 w 84731"/>
                <a:gd name="connsiteY0" fmla="*/ 42366 h 84731"/>
                <a:gd name="connsiteX1" fmla="*/ 42366 w 84731"/>
                <a:gd name="connsiteY1" fmla="*/ 84731 h 84731"/>
                <a:gd name="connsiteX2" fmla="*/ 0 w 84731"/>
                <a:gd name="connsiteY2" fmla="*/ 42366 h 84731"/>
                <a:gd name="connsiteX3" fmla="*/ 42366 w 84731"/>
                <a:gd name="connsiteY3" fmla="*/ 0 h 84731"/>
                <a:gd name="connsiteX4" fmla="*/ 84732 w 84731"/>
                <a:gd name="connsiteY4" fmla="*/ 42366 h 84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31" h="84731">
                  <a:moveTo>
                    <a:pt x="84732" y="42366"/>
                  </a:moveTo>
                  <a:cubicBezTo>
                    <a:pt x="84732" y="65407"/>
                    <a:pt x="66150" y="84731"/>
                    <a:pt x="42366" y="84731"/>
                  </a:cubicBezTo>
                  <a:cubicBezTo>
                    <a:pt x="19325" y="84731"/>
                    <a:pt x="0" y="66150"/>
                    <a:pt x="0" y="42366"/>
                  </a:cubicBezTo>
                  <a:cubicBezTo>
                    <a:pt x="0" y="19325"/>
                    <a:pt x="18581" y="0"/>
                    <a:pt x="42366" y="0"/>
                  </a:cubicBezTo>
                  <a:cubicBezTo>
                    <a:pt x="66150" y="743"/>
                    <a:pt x="84732" y="19325"/>
                    <a:pt x="84732" y="42366"/>
                  </a:cubicBezTo>
                </a:path>
              </a:pathLst>
            </a:custGeom>
            <a:solidFill>
              <a:srgbClr val="4D217A"/>
            </a:solidFill>
            <a:ln w="74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srgbClr val="1B1534"/>
                </a:solidFill>
                <a:latin typeface="Arial"/>
                <a:ea typeface="+mn-ea"/>
              </a:endParaRPr>
            </a:p>
          </p:txBody>
        </p:sp>
      </p:grpSp>
      <p:pic>
        <p:nvPicPr>
          <p:cNvPr id="19" name="Grafik 18" descr="Ein Bild, das Stern enthält.&#10;&#10;Automatisch generierte Beschreibung">
            <a:extLst>
              <a:ext uri="{FF2B5EF4-FFF2-40B4-BE49-F238E27FC236}">
                <a16:creationId xmlns:a16="http://schemas.microsoft.com/office/drawing/2014/main" id="{71EA36E8-27E7-A644-88CA-F941B23DA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267"/>
          <a:stretch/>
        </p:blipFill>
        <p:spPr>
          <a:xfrm rot="20424227" flipH="1">
            <a:off x="5878827" y="686074"/>
            <a:ext cx="5085041" cy="5395150"/>
          </a:xfrm>
          <a:prstGeom prst="rect">
            <a:avLst/>
          </a:prstGeom>
        </p:spPr>
      </p:pic>
      <p:sp>
        <p:nvSpPr>
          <p:cNvPr id="7" name="Copyright">
            <a:extLst>
              <a:ext uri="{FF2B5EF4-FFF2-40B4-BE49-F238E27FC236}">
                <a16:creationId xmlns:a16="http://schemas.microsoft.com/office/drawing/2014/main" id="{176C2D82-58F6-4664-863F-B544B8525EBB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1</a:t>
            </a:r>
          </a:p>
        </p:txBody>
      </p:sp>
    </p:spTree>
    <p:extLst>
      <p:ext uri="{BB962C8B-B14F-4D97-AF65-F5344CB8AC3E}">
        <p14:creationId xmlns:p14="http://schemas.microsoft.com/office/powerpoint/2010/main" val="9332653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090243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4D270123-9201-40C9-8724-1647E9A0C8F8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627063" y="1414800"/>
            <a:ext cx="8207375" cy="3114000"/>
          </a:xfrm>
        </p:spPr>
        <p:txBody>
          <a:bodyPr lIns="0" tIns="0" bIns="0" anchor="b"/>
          <a:lstStyle>
            <a:lvl1pPr algn="l">
              <a:defRPr sz="4400">
                <a:solidFill>
                  <a:schemeClr val="accent2"/>
                </a:solidFill>
              </a:defRPr>
            </a:lvl1pPr>
          </a:lstStyle>
          <a:p>
            <a:r>
              <a:rPr lang="en-US" noProof="0"/>
              <a:t>Chapter divider</a:t>
            </a:r>
          </a:p>
        </p:txBody>
      </p:sp>
      <p:sp>
        <p:nvSpPr>
          <p:cNvPr id="4" name="Subtitle">
            <a:extLst>
              <a:ext uri="{FF2B5EF4-FFF2-40B4-BE49-F238E27FC236}">
                <a16:creationId xmlns:a16="http://schemas.microsoft.com/office/drawing/2014/main" id="{6800291B-8951-48A6-AA08-05DDABDCE8A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7064" y="4528800"/>
            <a:ext cx="8208000" cy="899252"/>
          </a:xfrm>
        </p:spPr>
        <p:txBody>
          <a:bodyPr lIns="0" tIns="108000" anchor="t">
            <a:noAutofit/>
          </a:bodyPr>
          <a:lstStyle>
            <a:lvl1pPr marL="0" indent="0" algn="l">
              <a:buNone/>
              <a:defRPr sz="1500" b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resenter of presentation,</a:t>
            </a:r>
            <a:br>
              <a:rPr lang="en-US"/>
            </a:br>
            <a:r>
              <a:rPr lang="en-US"/>
              <a:t>English, August 2020</a:t>
            </a:r>
          </a:p>
        </p:txBody>
      </p:sp>
      <p:pic>
        <p:nvPicPr>
          <p:cNvPr id="6" name="Logo">
            <a:extLst>
              <a:ext uri="{FF2B5EF4-FFF2-40B4-BE49-F238E27FC236}">
                <a16:creationId xmlns:a16="http://schemas.microsoft.com/office/drawing/2014/main" id="{4774ED4C-2CE3-4F97-9292-1D483D04AB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5847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396FC1D-DB7A-4E51-83A7-D7995F9EE9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735508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85055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DD39686-C426-4B02-B953-AC0AC4016A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9746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43316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413864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06700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6488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A4DED40-DA39-4014-8DEE-94AA5379A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414800"/>
            <a:ext cx="3600000" cy="4752974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50361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,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7E041062-6E58-45A3-B6A1-92507B394B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4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1798"/>
            <a:ext cx="3600000" cy="1584000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Image 1">
            <a:extLst>
              <a:ext uri="{FF2B5EF4-FFF2-40B4-BE49-F238E27FC236}">
                <a16:creationId xmlns:a16="http://schemas.microsoft.com/office/drawing/2014/main" id="{D7FB36E4-9D48-40F9-8766-C9A9EB70724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706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Image 2">
            <a:extLst>
              <a:ext uri="{FF2B5EF4-FFF2-40B4-BE49-F238E27FC236}">
                <a16:creationId xmlns:a16="http://schemas.microsoft.com/office/drawing/2014/main" id="{DB7AA95A-85B0-4FB5-A5A1-EA4243663C9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70614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Image 3">
            <a:extLst>
              <a:ext uri="{FF2B5EF4-FFF2-40B4-BE49-F238E27FC236}">
                <a16:creationId xmlns:a16="http://schemas.microsoft.com/office/drawing/2014/main" id="{5530F297-3088-4E70-982A-604343177BD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4163" y="3285275"/>
            <a:ext cx="3600000" cy="2593238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6233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3A07FC25-F4AA-44AB-A199-BEA168878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3" y="1414800"/>
            <a:ext cx="691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pic>
        <p:nvPicPr>
          <p:cNvPr id="5" name="Logo">
            <a:extLst>
              <a:ext uri="{FF2B5EF4-FFF2-40B4-BE49-F238E27FC236}">
                <a16:creationId xmlns:a16="http://schemas.microsoft.com/office/drawing/2014/main" id="{4DD39686-C426-4B02-B953-AC0AC4016A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57315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0AC4C64-3556-4D13-9B77-531CC35C59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50" y="1414800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3">
            <a:extLst>
              <a:ext uri="{FF2B5EF4-FFF2-40B4-BE49-F238E27FC236}">
                <a16:creationId xmlns:a16="http://schemas.microsoft.com/office/drawing/2014/main" id="{7AD2072B-7BD2-4A0D-8491-4973B658502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7063" y="3862388"/>
            <a:ext cx="5472112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Copy 4">
            <a:extLst>
              <a:ext uri="{FF2B5EF4-FFF2-40B4-BE49-F238E27FC236}">
                <a16:creationId xmlns:a16="http://schemas.microsoft.com/office/drawing/2014/main" id="{5ABA1728-CE60-4862-A32A-3E1550DB810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42050" y="3862388"/>
            <a:ext cx="5472000" cy="2305049"/>
          </a:xfrm>
        </p:spPr>
        <p:txBody>
          <a:bodyPr l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01724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27826ABC-B0B5-42A8-83E0-A64A285DEA00}"/>
              </a:ext>
            </a:extLst>
          </p:cNvPr>
          <p:cNvSpPr/>
          <p:nvPr userDrawn="1"/>
        </p:nvSpPr>
        <p:spPr>
          <a:xfrm>
            <a:off x="0" y="12526"/>
            <a:ext cx="12191999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E588B75F-B996-4586-B62B-613544F21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F4621446-925E-4A5C-BB97-799E6B8386D9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/>
              <a:t>August 2020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A432E29C-E7B9-433A-A0CC-FB53AB8DBB2B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26651299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9FE7FA8-1217-4A54-AB03-6D45560D6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6104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4" imgH="443" progId="TCLayout.ActiveDocument.1">
                  <p:embed/>
                </p:oleObj>
              </mc:Choice>
              <mc:Fallback>
                <p:oleObj name="think-cell Slide" r:id="rId4" imgW="444" imgH="44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9FE7FA8-1217-4A54-AB03-6D45560D6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4935157-AA5E-4794-8AD4-0C9B740F54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97" t="-4" r="1" b="-1"/>
          <a:stretch/>
        </p:blipFill>
        <p:spPr bwMode="invGray">
          <a:xfrm>
            <a:off x="6242050" y="0"/>
            <a:ext cx="5949950" cy="6857571"/>
          </a:xfrm>
          <a:prstGeom prst="rect">
            <a:avLst/>
          </a:prstGeom>
        </p:spPr>
      </p:pic>
      <p:sp>
        <p:nvSpPr>
          <p:cNvPr id="3" name="Title">
            <a:extLst>
              <a:ext uri="{FF2B5EF4-FFF2-40B4-BE49-F238E27FC236}">
                <a16:creationId xmlns:a16="http://schemas.microsoft.com/office/drawing/2014/main" id="{69754322-9D76-4652-BA00-A16E0E8BC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5468935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868800" y="1702800"/>
            <a:ext cx="4845363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1"/>
                </a:solidFill>
              </a:rPr>
              <a:t>‹#›</a:t>
            </a:fld>
            <a:endParaRPr lang="en-US" sz="1000" b="1" noProof="0">
              <a:solidFill>
                <a:schemeClr val="bg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August 2020</a:t>
            </a:r>
          </a:p>
        </p:txBody>
      </p:sp>
      <p:sp>
        <p:nvSpPr>
          <p:cNvPr id="12" name="Copyright">
            <a:extLst>
              <a:ext uri="{FF2B5EF4-FFF2-40B4-BE49-F238E27FC236}">
                <a16:creationId xmlns:a16="http://schemas.microsoft.com/office/drawing/2014/main" id="{665B9EEF-9ADF-4102-B01A-777A9A9D159A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21878661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326">
          <p15:clr>
            <a:srgbClr val="009999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2" y="1"/>
            <a:ext cx="6099177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bg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4F3C362A-A909-40CB-9FA2-3D7178007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6098400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4838400" cy="4464050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buClrTx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724799" y="1702800"/>
            <a:ext cx="4989364" cy="4464050"/>
          </a:xfrm>
        </p:spPr>
        <p:txBody>
          <a:bodyPr lIns="0"/>
          <a:lstStyle>
            <a:lvl1pPr>
              <a:defRPr>
                <a:solidFill>
                  <a:schemeClr val="bg2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2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2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2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bg2"/>
                </a:solidFill>
              </a:rPr>
              <a:t>‹#›</a:t>
            </a:fld>
            <a:endParaRPr lang="en-US" sz="1000" b="1" noProof="0">
              <a:solidFill>
                <a:schemeClr val="bg2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August 2020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B980F6DA-6A5A-42D7-89C2-7B16920806C0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>
                <a:solidFill>
                  <a:schemeClr val="bg1"/>
                </a:solidFill>
              </a:rPr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1914281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4235">
          <p15:clr>
            <a:srgbClr val="009999"/>
          </p15:clr>
        </p15:guide>
        <p15:guide id="4" pos="3445">
          <p15:clr>
            <a:srgbClr val="009999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4049" t="-4" r="1" b="-1"/>
          <a:stretch/>
        </p:blipFill>
        <p:spPr bwMode="invGray">
          <a:xfrm>
            <a:off x="4225925" y="0"/>
            <a:ext cx="7966075" cy="6857571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1DA0C482-E794-471B-86E8-8B4BC6FE0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88" y="1702800"/>
            <a:ext cx="6861175" cy="4464050"/>
          </a:xfrm>
        </p:spPr>
        <p:txBody>
          <a:bodyPr lIns="0"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292000" y="6166800"/>
            <a:ext cx="900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July 2020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14E631F1-D70A-4B5B-979E-D29B440794BE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353865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2" pos="2482">
          <p15:clr>
            <a:srgbClr val="009999"/>
          </p15:clr>
        </p15:guide>
        <p15:guide id="3" pos="3057">
          <p15:clr>
            <a:srgbClr val="009999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ckground">
            <a:extLst>
              <a:ext uri="{FF2B5EF4-FFF2-40B4-BE49-F238E27FC236}">
                <a16:creationId xmlns:a16="http://schemas.microsoft.com/office/drawing/2014/main" id="{DCAA5B86-D6D2-48E1-A718-F4740661587C}"/>
              </a:ext>
            </a:extLst>
          </p:cNvPr>
          <p:cNvSpPr/>
          <p:nvPr userDrawn="1"/>
        </p:nvSpPr>
        <p:spPr>
          <a:xfrm>
            <a:off x="-1" y="1"/>
            <a:ext cx="4225926" cy="6857998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506C2C1-E8E5-4190-B0E4-8D8FC817B3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25925" y="1"/>
            <a:ext cx="7488238" cy="14144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py 1">
            <a:extLst>
              <a:ext uri="{FF2B5EF4-FFF2-40B4-BE49-F238E27FC236}">
                <a16:creationId xmlns:a16="http://schemas.microsoft.com/office/drawing/2014/main" id="{756262E2-8F38-4C0F-A3F9-8F59D3EABBE4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7063" y="1702800"/>
            <a:ext cx="3312000" cy="4464050"/>
          </a:xfrm>
        </p:spPr>
        <p:txBody>
          <a:bodyPr lIns="0"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Copy 2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52990" y="1702800"/>
            <a:ext cx="6861174" cy="4464050"/>
          </a:xfrm>
        </p:spPr>
        <p:txBody>
          <a:bodyPr lIns="0"/>
          <a:lstStyle>
            <a:lvl1pPr>
              <a:defRPr/>
            </a:lvl1pPr>
            <a:lvl2pPr>
              <a:buClr>
                <a:schemeClr val="accent2"/>
              </a:buClr>
              <a:defRPr/>
            </a:lvl2pPr>
            <a:lvl3pPr>
              <a:buClr>
                <a:schemeClr val="accent2"/>
              </a:buClr>
              <a:defRPr/>
            </a:lvl3pPr>
            <a:lvl4pPr>
              <a:buClr>
                <a:schemeClr val="accent2"/>
              </a:buClr>
              <a:defRPr/>
            </a:lvl4pPr>
            <a:lvl5pPr>
              <a:buClr>
                <a:schemeClr val="accent2"/>
              </a:buCl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>
                <a:solidFill>
                  <a:schemeClr val="bg1"/>
                </a:solidFill>
              </a:rPr>
              <a:t>August 2020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4469155D-ED95-4B2C-8F4B-C576FA4EDBD9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1332601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1">
          <p15:clr>
            <a:srgbClr val="009999"/>
          </p15:clr>
        </p15:guide>
        <p15:guide id="3" pos="3058">
          <p15:clr>
            <a:srgbClr val="009999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rtly bleed color area 5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1B67C6AD-42CF-4549-839D-23FD1107A8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256"/>
          <a:stretch/>
        </p:blipFill>
        <p:spPr bwMode="invGray">
          <a:xfrm>
            <a:off x="0" y="1414463"/>
            <a:ext cx="12191999" cy="544310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0110D7BC-E7EC-4502-9248-89CD9CF4CB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Copy 1">
            <a:extLst>
              <a:ext uri="{FF2B5EF4-FFF2-40B4-BE49-F238E27FC236}">
                <a16:creationId xmlns:a16="http://schemas.microsoft.com/office/drawing/2014/main" id="{0C7A0882-840F-46D5-B681-43C58151C831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27060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py 2">
            <a:extLst>
              <a:ext uri="{FF2B5EF4-FFF2-40B4-BE49-F238E27FC236}">
                <a16:creationId xmlns:a16="http://schemas.microsoft.com/office/drawing/2014/main" id="{99496BBF-8C93-419A-9711-E1A45A39C74F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370612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 3">
            <a:extLst>
              <a:ext uri="{FF2B5EF4-FFF2-40B4-BE49-F238E27FC236}">
                <a16:creationId xmlns:a16="http://schemas.microsoft.com/office/drawing/2014/main" id="{F4602EF6-A996-4008-A6E7-BC21522010A5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8114163" y="1702800"/>
            <a:ext cx="3600000" cy="4464050"/>
          </a:xfrm>
        </p:spPr>
        <p:txBody>
          <a:bodyPr/>
          <a:lstStyle>
            <a:lvl1pPr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Page">
            <a:extLst>
              <a:ext uri="{FF2B5EF4-FFF2-40B4-BE49-F238E27FC236}">
                <a16:creationId xmlns:a16="http://schemas.microsoft.com/office/drawing/2014/main" id="{0A81FD87-E05D-463F-95C1-4A49C99D181A}"/>
              </a:ext>
            </a:extLst>
          </p:cNvPr>
          <p:cNvSpPr txBox="1"/>
          <p:nvPr userDrawn="1"/>
        </p:nvSpPr>
        <p:spPr>
          <a:xfrm>
            <a:off x="11364000" y="6166800"/>
            <a:ext cx="828000" cy="360000"/>
          </a:xfrm>
          <a:prstGeom prst="rect">
            <a:avLst/>
          </a:prstGeom>
          <a:noFill/>
        </p:spPr>
        <p:txBody>
          <a:bodyPr wrap="square" lIns="0" tIns="0" rIns="482400" bIns="36000" rtlCol="0" anchor="b">
            <a:noAutofit/>
          </a:bodyPr>
          <a:lstStyle/>
          <a:p>
            <a:pPr algn="r"/>
            <a:fld id="{6F7EFBA6-8CEB-40F4-B709-F27F7004ACFC}" type="slidenum">
              <a:rPr lang="en-US" sz="1000" b="1" noProof="0" smtClean="0">
                <a:solidFill>
                  <a:schemeClr val="tx1"/>
                </a:solidFill>
              </a:rPr>
              <a:t>‹#›</a:t>
            </a:fld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9" name="Date">
            <a:extLst>
              <a:ext uri="{FF2B5EF4-FFF2-40B4-BE49-F238E27FC236}">
                <a16:creationId xmlns:a16="http://schemas.microsoft.com/office/drawing/2014/main" id="{21CEE93F-0590-461F-A26C-B76B7B67C05B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36000" rtlCol="0" anchor="t">
            <a:noAutofit/>
          </a:bodyPr>
          <a:lstStyle/>
          <a:p>
            <a:pPr algn="l"/>
            <a:r>
              <a:rPr lang="en-US" sz="1000" b="0" noProof="0"/>
              <a:t>August 2020</a:t>
            </a:r>
          </a:p>
        </p:txBody>
      </p:sp>
      <p:sp>
        <p:nvSpPr>
          <p:cNvPr id="11" name="Copyright">
            <a:extLst>
              <a:ext uri="{FF2B5EF4-FFF2-40B4-BE49-F238E27FC236}">
                <a16:creationId xmlns:a16="http://schemas.microsoft.com/office/drawing/2014/main" id="{DAAF011D-8650-430A-AC08-DEB2D438351D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0</a:t>
            </a:r>
          </a:p>
        </p:txBody>
      </p:sp>
    </p:spTree>
    <p:extLst>
      <p:ext uri="{BB962C8B-B14F-4D97-AF65-F5344CB8AC3E}">
        <p14:creationId xmlns:p14="http://schemas.microsoft.com/office/powerpoint/2010/main" val="15908569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5022">
          <p15:clr>
            <a:srgbClr val="009999"/>
          </p15:clr>
        </p15:guide>
        <p15:guide id="2" pos="5112">
          <p15:clr>
            <a:srgbClr val="009999"/>
          </p15:clr>
        </p15:guide>
        <p15:guide id="4" pos="2753">
          <p15:clr>
            <a:srgbClr val="009999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">
            <a:hlinkClick r:id="rId2"/>
            <a:extLst>
              <a:ext uri="{FF2B5EF4-FFF2-40B4-BE49-F238E27FC236}">
                <a16:creationId xmlns:a16="http://schemas.microsoft.com/office/drawing/2014/main" id="{281FD3DE-3D3F-4936-81A7-AD286FE4EF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6971" t="33492" r="42185" b="37637"/>
          <a:stretch/>
        </p:blipFill>
        <p:spPr bwMode="invGray">
          <a:xfrm>
            <a:off x="1358" y="1414800"/>
            <a:ext cx="6098400" cy="4752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29A8A3D2-4732-49AB-8FCF-B07043C38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2049" y="1414800"/>
            <a:ext cx="5472113" cy="4752974"/>
          </a:xfrm>
        </p:spPr>
        <p:txBody>
          <a:bodyPr lIns="0"/>
          <a:lstStyle>
            <a:lvl1pPr>
              <a:spcBef>
                <a:spcPts val="600"/>
              </a:spcBef>
              <a:defRPr baseline="0"/>
            </a:lvl1pPr>
            <a:lvl2pPr marL="0" indent="0">
              <a:spcBef>
                <a:spcPts val="600"/>
              </a:spcBef>
              <a:buNone/>
              <a:defRPr b="1"/>
            </a:lvl2pPr>
            <a:lvl3pPr marL="180000" indent="-180000">
              <a:spcBef>
                <a:spcPts val="6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3pPr>
            <a:lvl4pPr marL="0" indent="0">
              <a:spcBef>
                <a:spcPts val="1800"/>
              </a:spcBef>
              <a:buNone/>
              <a:defRPr b="1">
                <a:solidFill>
                  <a:schemeClr val="accent2"/>
                </a:solidFill>
              </a:defRPr>
            </a:lvl4pPr>
            <a:lvl5pPr marL="216000"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ontact information</a:t>
            </a:r>
          </a:p>
          <a:p>
            <a:pPr lvl="1"/>
            <a:r>
              <a:rPr lang="en-US" noProof="0"/>
              <a:t>First name Last name</a:t>
            </a:r>
          </a:p>
          <a:p>
            <a:pPr lvl="2"/>
            <a:r>
              <a:rPr lang="en-US" noProof="0"/>
              <a:t>Additional information</a:t>
            </a:r>
          </a:p>
          <a:p>
            <a:pPr lvl="3"/>
            <a:r>
              <a:rPr lang="en-US" noProof="0"/>
              <a:t>Optional URL</a:t>
            </a:r>
          </a:p>
        </p:txBody>
      </p:sp>
      <p:pic>
        <p:nvPicPr>
          <p:cNvPr id="8" name="Logo">
            <a:extLst>
              <a:ext uri="{FF2B5EF4-FFF2-40B4-BE49-F238E27FC236}">
                <a16:creationId xmlns:a16="http://schemas.microsoft.com/office/drawing/2014/main" id="{8D4FB85B-6B00-4CB9-9A3F-0DA4223A52A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274163" y="468926"/>
            <a:ext cx="1439999" cy="49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99570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-Gu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8D59A25-CC67-904B-94FA-A733218E0E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387599"/>
            <a:ext cx="5699979" cy="3394075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>
                <a:solidFill>
                  <a:schemeClr val="accent1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8362AD4-15F4-4F42-87FA-45F69505F7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91849" y="5856288"/>
            <a:ext cx="804129" cy="609600"/>
          </a:xfrm>
        </p:spPr>
        <p:txBody>
          <a:bodyPr anchor="b"/>
          <a:lstStyle>
            <a:lvl1pPr algn="r">
              <a:defRPr>
                <a:solidFill>
                  <a:schemeClr val="accent1"/>
                </a:solidFill>
                <a:latin typeface="Bierstadt Display" panose="020B0504020202020204" pitchFamily="34" charset="0"/>
              </a:defRPr>
            </a:lvl1pPr>
          </a:lstStyle>
          <a:p>
            <a:fld id="{C2E7E8F2-A258-4364-9CD4-85528A655365}" type="datetime1">
              <a:rPr lang="nb-NO" smtClean="0"/>
              <a:t>24.09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2C27C86-DEBB-394F-B039-E51700CF21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5998" y="5856288"/>
            <a:ext cx="3943351" cy="609600"/>
          </a:xfrm>
        </p:spPr>
        <p:txBody>
          <a:bodyPr anchor="b"/>
          <a:lstStyle>
            <a:lvl1pPr algn="l">
              <a:defRPr>
                <a:solidFill>
                  <a:schemeClr val="accent1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my.sharepoint.com/personal/havard_tamburstuen_l_/</a:t>
            </a:r>
          </a:p>
        </p:txBody>
      </p:sp>
      <p:pic>
        <p:nvPicPr>
          <p:cNvPr id="11" name="Bilde 10" descr="Et bilde som inneholder lys, natt&#10;&#10;Automatisk generert beskrivelse">
            <a:extLst>
              <a:ext uri="{FF2B5EF4-FFF2-40B4-BE49-F238E27FC236}">
                <a16:creationId xmlns:a16="http://schemas.microsoft.com/office/drawing/2014/main" id="{D6230F60-9D05-B348-BB17-F1A6A9FC46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560" y="459550"/>
            <a:ext cx="5209015" cy="5938900"/>
          </a:xfrm>
          <a:prstGeom prst="rect">
            <a:avLst/>
          </a:prstGeom>
        </p:spPr>
      </p:pic>
      <p:pic>
        <p:nvPicPr>
          <p:cNvPr id="13" name="Bilde 12" descr="Et bilde som inneholder tekst&#10;&#10;Automatisk generert beskrivelse">
            <a:extLst>
              <a:ext uri="{FF2B5EF4-FFF2-40B4-BE49-F238E27FC236}">
                <a16:creationId xmlns:a16="http://schemas.microsoft.com/office/drawing/2014/main" id="{B7E8B39C-FEAF-8446-BE52-DD477E8510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2196" y="252038"/>
            <a:ext cx="1605706" cy="1620000"/>
          </a:xfrm>
          <a:prstGeom prst="rect">
            <a:avLst/>
          </a:prstGeom>
        </p:spPr>
      </p:pic>
      <p:sp>
        <p:nvSpPr>
          <p:cNvPr id="15" name="Plassholder for bilde 2">
            <a:extLst>
              <a:ext uri="{FF2B5EF4-FFF2-40B4-BE49-F238E27FC236}">
                <a16:creationId xmlns:a16="http://schemas.microsoft.com/office/drawing/2014/main" id="{C719E032-03A5-0E4D-8679-2DD5305A56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5686425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7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23506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-Gra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8D59A25-CC67-904B-94FA-A733218E0E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387599"/>
            <a:ext cx="5699979" cy="3394075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>
                <a:solidFill>
                  <a:schemeClr val="bg2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D6230F60-9D05-B348-BB17-F1A6A9FC461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7560" y="459550"/>
            <a:ext cx="5209014" cy="5938900"/>
          </a:xfrm>
          <a:prstGeom prst="rect">
            <a:avLst/>
          </a:prstGeom>
        </p:spPr>
      </p:pic>
      <p:sp>
        <p:nvSpPr>
          <p:cNvPr id="14" name="Plassholder for bilde 2">
            <a:extLst>
              <a:ext uri="{FF2B5EF4-FFF2-40B4-BE49-F238E27FC236}">
                <a16:creationId xmlns:a16="http://schemas.microsoft.com/office/drawing/2014/main" id="{192336D4-0FAB-5044-A5C7-365A33C914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5686425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7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pic>
        <p:nvPicPr>
          <p:cNvPr id="10" name="Bilde 9" descr="Et bilde som inneholder tekst&#10;&#10;Automatisk generert beskrivelse">
            <a:extLst>
              <a:ext uri="{FF2B5EF4-FFF2-40B4-BE49-F238E27FC236}">
                <a16:creationId xmlns:a16="http://schemas.microsoft.com/office/drawing/2014/main" id="{84E5F318-7511-8541-A4CC-A5AE9936F7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2196" y="252038"/>
            <a:ext cx="1605706" cy="1620000"/>
          </a:xfrm>
          <a:prstGeom prst="rect">
            <a:avLst/>
          </a:prstGeom>
        </p:spPr>
      </p:pic>
      <p:sp>
        <p:nvSpPr>
          <p:cNvPr id="12" name="Plassholder for dato 3">
            <a:extLst>
              <a:ext uri="{FF2B5EF4-FFF2-40B4-BE49-F238E27FC236}">
                <a16:creationId xmlns:a16="http://schemas.microsoft.com/office/drawing/2014/main" id="{CF50A0C0-1359-6A40-8A3E-DC88E2B54C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991849" y="5856288"/>
            <a:ext cx="804129" cy="609600"/>
          </a:xfrm>
        </p:spPr>
        <p:txBody>
          <a:bodyPr anchor="b"/>
          <a:lstStyle>
            <a:lvl1pPr algn="r">
              <a:defRPr>
                <a:solidFill>
                  <a:schemeClr val="bg2"/>
                </a:solidFill>
                <a:latin typeface="Bierstadt Display" panose="020B0504020202020204" pitchFamily="34" charset="0"/>
              </a:defRPr>
            </a:lvl1pPr>
          </a:lstStyle>
          <a:p>
            <a:fld id="{4E490902-46A1-4C97-880E-87C6FEED003D}" type="datetime1">
              <a:rPr lang="nb-NO" smtClean="0"/>
              <a:t>24.09.2024</a:t>
            </a:fld>
            <a:endParaRPr lang="nb-NO"/>
          </a:p>
        </p:txBody>
      </p:sp>
      <p:sp>
        <p:nvSpPr>
          <p:cNvPr id="15" name="Plassholder for bunntekst 4">
            <a:extLst>
              <a:ext uri="{FF2B5EF4-FFF2-40B4-BE49-F238E27FC236}">
                <a16:creationId xmlns:a16="http://schemas.microsoft.com/office/drawing/2014/main" id="{B3726E7F-BAFF-844B-AD0D-F731F55625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5998" y="5856288"/>
            <a:ext cx="3943351" cy="609600"/>
          </a:xfrm>
        </p:spPr>
        <p:txBody>
          <a:bodyPr anchor="b"/>
          <a:lstStyle>
            <a:lvl1pPr algn="l">
              <a:defRPr>
                <a:solidFill>
                  <a:schemeClr val="bg2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my.sharepoint.com/personal/havard_tamburstuen_l_/</a:t>
            </a:r>
          </a:p>
        </p:txBody>
      </p:sp>
    </p:spTree>
    <p:extLst>
      <p:ext uri="{BB962C8B-B14F-4D97-AF65-F5344CB8AC3E}">
        <p14:creationId xmlns:p14="http://schemas.microsoft.com/office/powerpoint/2010/main" val="7910885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53AF9F3-C036-494E-93A9-EEB85375F3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112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242048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12613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6D1DB26-26CF-554E-BB30-E0F7A2ABC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1062039"/>
            <a:ext cx="11407775" cy="1301750"/>
          </a:xfrm>
        </p:spPr>
        <p:txBody>
          <a:bodyPr anchor="b">
            <a:normAutofit/>
          </a:bodyPr>
          <a:lstStyle>
            <a:lvl1pPr>
              <a:defRPr sz="3600"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4A8050A-B695-1547-8B1A-2F9C48A8F7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873" y="2438400"/>
            <a:ext cx="11407778" cy="3738563"/>
          </a:xfrm>
        </p:spPr>
        <p:txBody>
          <a:bodyPr/>
          <a:lstStyle>
            <a:lvl1pPr>
              <a:defRPr>
                <a:latin typeface="Bierstadt Display" panose="020B0504020202020204" pitchFamily="34" charset="0"/>
              </a:defRPr>
            </a:lvl1pPr>
            <a:lvl2pPr>
              <a:defRPr>
                <a:latin typeface="Bierstadt Display" panose="020B0504020202020204" pitchFamily="34" charset="0"/>
              </a:defRPr>
            </a:lvl2pPr>
            <a:lvl3pPr>
              <a:defRPr>
                <a:latin typeface="Bierstadt Display" panose="020B0504020202020204" pitchFamily="34" charset="0"/>
              </a:defRPr>
            </a:lvl3pPr>
            <a:lvl4pPr>
              <a:defRPr>
                <a:latin typeface="Bierstadt Display" panose="020B0504020202020204" pitchFamily="34" charset="0"/>
              </a:defRPr>
            </a:lvl4pPr>
            <a:lvl5pPr>
              <a:defRPr>
                <a:latin typeface="Bierstadt Display" panose="020B050402020202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E1D743B6-3F3F-0144-AE80-BAC011F620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FCCD1100-64F0-0143-AC90-EBB2BA21F1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1850" y="379413"/>
            <a:ext cx="812800" cy="6096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fld id="{1A643FE0-EDD9-B541-8F10-352F760D5A0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47251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1920480-FEDA-3B46-9309-5D0B8C112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1062038"/>
            <a:ext cx="6094413" cy="1976437"/>
          </a:xfrm>
        </p:spPr>
        <p:txBody>
          <a:bodyPr anchor="b">
            <a:normAutofit/>
          </a:bodyPr>
          <a:lstStyle>
            <a:lvl1pPr>
              <a:defRPr sz="3600"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ACC5662-60D7-FF4D-A5AB-D10AA8220D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875" y="3113087"/>
            <a:ext cx="6094413" cy="619125"/>
          </a:xfrm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E88F7433-7DD2-5848-9640-7C261EBEB12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96875" y="3805238"/>
            <a:ext cx="6094413" cy="2660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1200">
                <a:latin typeface="Bierstadt Display" panose="020B0504020202020204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BEEE38D7-2CD7-334E-BBD0-17E1347B9F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E0E5B612-060E-3F46-BFF4-FDBFD1A20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1850" y="379413"/>
            <a:ext cx="812800" cy="6096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fld id="{1A643FE0-EDD9-B541-8F10-352F760D5A0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680676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4A046E1-820D-1942-997C-50AFE77E65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8D8286C-DDA0-974A-9202-E54FCDFEE7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6875" y="2438399"/>
            <a:ext cx="5699125" cy="4040188"/>
          </a:xfrm>
        </p:spPr>
        <p:txBody>
          <a:bodyPr/>
          <a:lstStyle>
            <a:lvl1pPr>
              <a:defRPr>
                <a:latin typeface="Bierstadt Display" panose="020B0504020202020204" pitchFamily="34" charset="0"/>
              </a:defRPr>
            </a:lvl1pPr>
            <a:lvl2pPr>
              <a:defRPr>
                <a:latin typeface="Bierstadt Display" panose="020B0504020202020204" pitchFamily="34" charset="0"/>
              </a:defRPr>
            </a:lvl2pPr>
            <a:lvl3pPr>
              <a:defRPr>
                <a:latin typeface="Bierstadt Display" panose="020B0504020202020204" pitchFamily="34" charset="0"/>
              </a:defRPr>
            </a:lvl3pPr>
            <a:lvl4pPr>
              <a:defRPr>
                <a:latin typeface="Bierstadt Display" panose="020B0504020202020204" pitchFamily="34" charset="0"/>
              </a:defRPr>
            </a:lvl4pPr>
            <a:lvl5pPr>
              <a:defRPr>
                <a:latin typeface="Bierstadt Display" panose="020B050402020202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4DA1F87-46B4-E549-A15A-B777B5FCE9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3313" y="2434579"/>
            <a:ext cx="5621337" cy="4044008"/>
          </a:xfrm>
        </p:spPr>
        <p:txBody>
          <a:bodyPr/>
          <a:lstStyle>
            <a:lvl1pPr>
              <a:defRPr>
                <a:latin typeface="Bierstadt Display" panose="020B0504020202020204" pitchFamily="34" charset="0"/>
              </a:defRPr>
            </a:lvl1pPr>
            <a:lvl2pPr>
              <a:defRPr>
                <a:latin typeface="Bierstadt Display" panose="020B0504020202020204" pitchFamily="34" charset="0"/>
              </a:defRPr>
            </a:lvl2pPr>
            <a:lvl3pPr>
              <a:defRPr>
                <a:latin typeface="Bierstadt Display" panose="020B0504020202020204" pitchFamily="34" charset="0"/>
              </a:defRPr>
            </a:lvl3pPr>
            <a:lvl4pPr>
              <a:defRPr>
                <a:latin typeface="Bierstadt Display" panose="020B0504020202020204" pitchFamily="34" charset="0"/>
              </a:defRPr>
            </a:lvl4pPr>
            <a:lvl5pPr>
              <a:defRPr>
                <a:latin typeface="Bierstadt Display" panose="020B050402020202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6543846E-7B5F-424C-B038-6E9F8EF2D1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8A1EE2E8-BBC1-BD48-B5C2-6DA554EA6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1850" y="379413"/>
            <a:ext cx="812800" cy="6096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fld id="{1A643FE0-EDD9-B541-8F10-352F760D5A0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2097354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03FD1B9-2A7A-0A4D-A563-9CAD5E552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638" y="1059805"/>
            <a:ext cx="11403012" cy="5406083"/>
          </a:xfrm>
        </p:spPr>
        <p:txBody>
          <a:bodyPr anchor="ctr">
            <a:normAutofit/>
          </a:bodyPr>
          <a:lstStyle>
            <a:lvl1pPr algn="ctr">
              <a:defRPr sz="10000"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CDC663B9-B3DD-AB4C-8D75-F477F38F7B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888B2B86-B0DF-D146-B9BF-A507C0419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Bierstadt Display" panose="020B0504020202020204" pitchFamily="34" charset="0"/>
              </a:defRPr>
            </a:lvl1pPr>
          </a:lstStyle>
          <a:p>
            <a:fld id="{1A643FE0-EDD9-B541-8F10-352F760D5A0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10753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-Chapter">
    <p:bg>
      <p:bgPr>
        <a:solidFill>
          <a:srgbClr val="0303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0729A7D-B5EB-0946-8F9D-DE439EB9B2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44428" y="428903"/>
            <a:ext cx="5994051" cy="6000193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5008A82D-463D-C443-BD68-13897A603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1220788"/>
            <a:ext cx="4337050" cy="18176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9A21E3E0-BC5E-0645-B65C-B053D6AD3B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52" y="309471"/>
            <a:ext cx="925200" cy="647915"/>
          </a:xfrm>
          <a:prstGeom prst="rect">
            <a:avLst/>
          </a:prstGeom>
        </p:spPr>
      </p:pic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9A3E510F-C006-5447-AC55-3BAD476410EF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6876" y="3113087"/>
            <a:ext cx="4337050" cy="3352801"/>
          </a:xfrm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accent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bilde 2">
            <a:extLst>
              <a:ext uri="{FF2B5EF4-FFF2-40B4-BE49-F238E27FC236}">
                <a16:creationId xmlns:a16="http://schemas.microsoft.com/office/drawing/2014/main" id="{8C49A907-01B2-9449-9DA1-59E2C3B057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616575" y="379412"/>
            <a:ext cx="6188075" cy="6086476"/>
          </a:xfrm>
        </p:spPr>
        <p:txBody>
          <a:bodyPr anchor="ctr"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42271642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-Chapter">
    <p:bg>
      <p:bgPr>
        <a:solidFill>
          <a:schemeClr val="tx2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0729A7D-B5EB-0946-8F9D-DE439EB9B2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44428" y="471852"/>
            <a:ext cx="5994051" cy="5914293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5008A82D-463D-C443-BD68-13897A603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1220788"/>
            <a:ext cx="4337050" cy="18176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2">
            <a:extLst>
              <a:ext uri="{FF2B5EF4-FFF2-40B4-BE49-F238E27FC236}">
                <a16:creationId xmlns:a16="http://schemas.microsoft.com/office/drawing/2014/main" id="{8C49A907-01B2-9449-9DA1-59E2C3B057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616575" y="379412"/>
            <a:ext cx="6188075" cy="6086476"/>
          </a:xfrm>
        </p:spPr>
        <p:txBody>
          <a:bodyPr anchor="ctr"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9A3E510F-C006-5447-AC55-3BAD476410EF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6876" y="3113087"/>
            <a:ext cx="4337050" cy="3352801"/>
          </a:xfrm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196B509-74D9-A140-9246-9774710B24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147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-Chapter">
    <p:bg>
      <p:bgPr>
        <a:solidFill>
          <a:schemeClr val="accent2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rist&#10;&#10;Automatisk generert beskrivelse">
            <a:extLst>
              <a:ext uri="{FF2B5EF4-FFF2-40B4-BE49-F238E27FC236}">
                <a16:creationId xmlns:a16="http://schemas.microsoft.com/office/drawing/2014/main" id="{B0729A7D-B5EB-0946-8F9D-DE439EB9B2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7785" y="428903"/>
            <a:ext cx="6107339" cy="6000193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5008A82D-463D-C443-BD68-13897A603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1220788"/>
            <a:ext cx="4337050" cy="18176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2">
            <a:extLst>
              <a:ext uri="{FF2B5EF4-FFF2-40B4-BE49-F238E27FC236}">
                <a16:creationId xmlns:a16="http://schemas.microsoft.com/office/drawing/2014/main" id="{8C49A907-01B2-9449-9DA1-59E2C3B057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616575" y="379412"/>
            <a:ext cx="6188075" cy="6086476"/>
          </a:xfrm>
        </p:spPr>
        <p:txBody>
          <a:bodyPr anchor="ctr"/>
          <a:lstStyle>
            <a:lvl1pPr marL="0" indent="0" algn="ctr">
              <a:buNone/>
              <a:defRPr sz="3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pic>
        <p:nvPicPr>
          <p:cNvPr id="14" name="Bilde 13" descr="Et bilde som inneholder tekst, utklipp, silhuetter&#10;&#10;Automatisk generert beskrivelse">
            <a:extLst>
              <a:ext uri="{FF2B5EF4-FFF2-40B4-BE49-F238E27FC236}">
                <a16:creationId xmlns:a16="http://schemas.microsoft.com/office/drawing/2014/main" id="{59E56331-F0AD-434B-98ED-A5DAF7A24A2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52" y="309471"/>
            <a:ext cx="925322" cy="648000"/>
          </a:xfrm>
          <a:prstGeom prst="rect">
            <a:avLst/>
          </a:prstGeom>
        </p:spPr>
      </p:pic>
      <p:sp>
        <p:nvSpPr>
          <p:cNvPr id="16" name="Plassholder for tekst 2">
            <a:extLst>
              <a:ext uri="{FF2B5EF4-FFF2-40B4-BE49-F238E27FC236}">
                <a16:creationId xmlns:a16="http://schemas.microsoft.com/office/drawing/2014/main" id="{34E00271-E200-7A4A-9AB9-148AB91CB4A7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6876" y="3113087"/>
            <a:ext cx="4337050" cy="3352801"/>
          </a:xfrm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bg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623206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580029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6CE0E45-78E0-4047-9B54-C62F4B693E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0125" y="379413"/>
            <a:ext cx="6984999" cy="6099174"/>
          </a:xfrm>
        </p:spPr>
        <p:txBody>
          <a:bodyPr/>
          <a:lstStyle>
            <a:lvl1pPr>
              <a:defRPr sz="3200">
                <a:latin typeface="Bierstadt Display" panose="020B0504020202020204" pitchFamily="34" charset="0"/>
              </a:defRPr>
            </a:lvl1pPr>
            <a:lvl2pPr>
              <a:defRPr sz="2800">
                <a:latin typeface="Bierstadt Display" panose="020B0504020202020204" pitchFamily="34" charset="0"/>
              </a:defRPr>
            </a:lvl2pPr>
            <a:lvl3pPr>
              <a:defRPr sz="2400">
                <a:latin typeface="Bierstadt Display" panose="020B0504020202020204" pitchFamily="34" charset="0"/>
              </a:defRPr>
            </a:lvl3pPr>
            <a:lvl4pPr>
              <a:defRPr sz="2000">
                <a:latin typeface="Bierstadt Display" panose="020B0504020202020204" pitchFamily="34" charset="0"/>
              </a:defRPr>
            </a:lvl4pPr>
            <a:lvl5pPr>
              <a:defRPr sz="2000">
                <a:latin typeface="Bierstadt Display" panose="020B05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2D03D8D1-1C0C-3E47-B32B-D92D76B52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1220788"/>
            <a:ext cx="3454399" cy="1817687"/>
          </a:xfrm>
        </p:spPr>
        <p:txBody>
          <a:bodyPr anchor="b">
            <a:normAutofit/>
          </a:bodyPr>
          <a:lstStyle>
            <a:lvl1pPr>
              <a:defRPr sz="3600">
                <a:latin typeface="Bierstadt Display" panose="020B0504020202020204" pitchFamily="34" charset="0"/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AF3F635B-76B5-C746-A729-B01EB9CF1B19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96874" y="3113088"/>
            <a:ext cx="3454401" cy="3352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1200">
                <a:latin typeface="Bierstadt Display" panose="020B0504020202020204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86FD8245-AE92-1C42-9E75-CB695B1ED6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101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>
            <a:extLst>
              <a:ext uri="{FF2B5EF4-FFF2-40B4-BE49-F238E27FC236}">
                <a16:creationId xmlns:a16="http://schemas.microsoft.com/office/drawing/2014/main" id="{5008A82D-463D-C443-BD68-13897A603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1220788"/>
            <a:ext cx="3454399" cy="1817687"/>
          </a:xfrm>
        </p:spPr>
        <p:txBody>
          <a:bodyPr anchor="b">
            <a:normAutofit/>
          </a:bodyPr>
          <a:lstStyle>
            <a:lvl1pPr>
              <a:defRPr sz="3600"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72DC5180-F926-FB49-A2A7-C2B5097967F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396875" y="3113088"/>
            <a:ext cx="3454400" cy="3352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1200">
                <a:latin typeface="Bierstadt Display" panose="020B0504020202020204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0541BFD4-DB69-3D44-A39E-ECAC4BC1CE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3" name="Plassholder for bilde 2">
            <a:extLst>
              <a:ext uri="{FF2B5EF4-FFF2-40B4-BE49-F238E27FC236}">
                <a16:creationId xmlns:a16="http://schemas.microsoft.com/office/drawing/2014/main" id="{8C49A907-01B2-9449-9DA1-59E2C3B057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810125" y="379413"/>
            <a:ext cx="6984999" cy="2659062"/>
          </a:xfrm>
        </p:spPr>
        <p:txBody>
          <a:bodyPr anchor="ctr"/>
          <a:lstStyle>
            <a:lvl1pPr marL="0" indent="0" algn="ctr">
              <a:buNone/>
              <a:defRPr sz="3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bilde 2">
            <a:extLst>
              <a:ext uri="{FF2B5EF4-FFF2-40B4-BE49-F238E27FC236}">
                <a16:creationId xmlns:a16="http://schemas.microsoft.com/office/drawing/2014/main" id="{4F79720C-C8FE-DE47-B71B-42AC09DB07D5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810126" y="3113088"/>
            <a:ext cx="3465512" cy="3365499"/>
          </a:xfrm>
        </p:spPr>
        <p:txBody>
          <a:bodyPr anchor="ctr"/>
          <a:lstStyle>
            <a:lvl1pPr marL="0" indent="0" algn="ctr">
              <a:buNone/>
              <a:defRPr sz="3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bilde 2">
            <a:extLst>
              <a:ext uri="{FF2B5EF4-FFF2-40B4-BE49-F238E27FC236}">
                <a16:creationId xmlns:a16="http://schemas.microsoft.com/office/drawing/2014/main" id="{E3759250-B118-6842-8EAB-163263B82838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8350250" y="3113088"/>
            <a:ext cx="3454400" cy="3365499"/>
          </a:xfrm>
        </p:spPr>
        <p:txBody>
          <a:bodyPr anchor="ctr"/>
          <a:lstStyle>
            <a:lvl1pPr marL="0" indent="0" algn="ctr">
              <a:buNone/>
              <a:defRPr sz="3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4304177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06F8B4D2-6F05-469C-8BE4-52BAC6D34B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7064" y="1414800"/>
            <a:ext cx="5472000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49" y="1414800"/>
            <a:ext cx="547200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49" y="3862725"/>
            <a:ext cx="547200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38799496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2">
            <a:extLst>
              <a:ext uri="{FF2B5EF4-FFF2-40B4-BE49-F238E27FC236}">
                <a16:creationId xmlns:a16="http://schemas.microsoft.com/office/drawing/2014/main" id="{4F79720C-C8FE-DE47-B71B-42AC09DB07D5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810126" y="3113088"/>
            <a:ext cx="3465512" cy="3365499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bilde 2">
            <a:extLst>
              <a:ext uri="{FF2B5EF4-FFF2-40B4-BE49-F238E27FC236}">
                <a16:creationId xmlns:a16="http://schemas.microsoft.com/office/drawing/2014/main" id="{E3759250-B118-6842-8EAB-163263B82838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8350250" y="3113088"/>
            <a:ext cx="3454400" cy="3365499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372F5052-4C61-E240-92A7-27E7721E17A2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387212" y="379413"/>
            <a:ext cx="4346713" cy="6099174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bilde 2">
            <a:extLst>
              <a:ext uri="{FF2B5EF4-FFF2-40B4-BE49-F238E27FC236}">
                <a16:creationId xmlns:a16="http://schemas.microsoft.com/office/drawing/2014/main" id="{BB4FEE5C-A491-BE4A-A0F8-DD68599B3F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810125" y="379413"/>
            <a:ext cx="6984999" cy="2659062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74230496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 descr="Et bilde som inneholder mørk, natt&#10;&#10;Automatisk generert beskrivelse">
            <a:extLst>
              <a:ext uri="{FF2B5EF4-FFF2-40B4-BE49-F238E27FC236}">
                <a16:creationId xmlns:a16="http://schemas.microsoft.com/office/drawing/2014/main" id="{3A8AA453-13C6-D547-B223-9DCCD5617C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1707" y="376238"/>
            <a:ext cx="6083417" cy="6089650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0541BFD4-DB69-3D44-A39E-ECAC4BC1CE5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3" name="Plassholder for bilde 2">
            <a:extLst>
              <a:ext uri="{FF2B5EF4-FFF2-40B4-BE49-F238E27FC236}">
                <a16:creationId xmlns:a16="http://schemas.microsoft.com/office/drawing/2014/main" id="{8C49A907-01B2-9449-9DA1-59E2C3B057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616575" y="0"/>
            <a:ext cx="6575424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6" name="Tittel 1">
            <a:extLst>
              <a:ext uri="{FF2B5EF4-FFF2-40B4-BE49-F238E27FC236}">
                <a16:creationId xmlns:a16="http://schemas.microsoft.com/office/drawing/2014/main" id="{8D0455FC-1266-694D-9B11-4A0252711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1220788"/>
            <a:ext cx="4337050" cy="18176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7" name="Plassholder for tekst 2">
            <a:extLst>
              <a:ext uri="{FF2B5EF4-FFF2-40B4-BE49-F238E27FC236}">
                <a16:creationId xmlns:a16="http://schemas.microsoft.com/office/drawing/2014/main" id="{5538EC3F-E169-C248-8F07-6DDFEE651AF6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6876" y="3113087"/>
            <a:ext cx="4337050" cy="3352801"/>
          </a:xfrm>
        </p:spPr>
        <p:txBody>
          <a:bodyPr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3829297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lde med teks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CEBD2D0-D23C-594A-922F-9CDB5F1377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875" y="379413"/>
            <a:ext cx="11407913" cy="6080898"/>
          </a:xfrm>
          <a:prstGeom prst="rect">
            <a:avLst/>
          </a:prstGeom>
        </p:spPr>
      </p:pic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372F5052-4C61-E240-92A7-27E7721E17A2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0000">
                <a:solidFill>
                  <a:schemeClr val="bg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9579815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ilde med teks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tekst&#10;&#10;Automatisk generert beskrivelse">
            <a:extLst>
              <a:ext uri="{FF2B5EF4-FFF2-40B4-BE49-F238E27FC236}">
                <a16:creationId xmlns:a16="http://schemas.microsoft.com/office/drawing/2014/main" id="{A9A19276-7924-5F45-8EB3-B672357DDB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6050" y="1270000"/>
            <a:ext cx="4279900" cy="43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94297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4E885F-578A-4901-8333-7486DECF6C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1" y="1192"/>
          <a:ext cx="2381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4E885F-578A-4901-8333-7486DECF6C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192"/>
                        <a:ext cx="2381" cy="23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334439" y="4"/>
            <a:ext cx="1515481" cy="304442"/>
          </a:xfrm>
        </p:spPr>
        <p:txBody>
          <a:bodyPr>
            <a:spAutoFit/>
          </a:bodyPr>
          <a:lstStyle>
            <a:lvl1pPr marL="0" indent="0">
              <a:buNone/>
              <a:defRPr sz="1099"/>
            </a:lvl1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776127" y="6390052"/>
            <a:ext cx="11081444" cy="221559"/>
          </a:xfrm>
        </p:spPr>
        <p:txBody>
          <a:bodyPr lIns="24516" tIns="24516" rIns="24516" bIns="24516" anchor="b">
            <a:spAutoFit/>
          </a:bodyPr>
          <a:lstStyle>
            <a:lvl1pPr marL="0" indent="0">
              <a:spcBef>
                <a:spcPts val="0"/>
              </a:spcBef>
              <a:buNone/>
              <a:defRPr sz="1198" i="1" baseline="0">
                <a:solidFill>
                  <a:schemeClr val="bg1">
                    <a:lumMod val="50000"/>
                  </a:schemeClr>
                </a:solidFill>
              </a:defRPr>
            </a:lvl1pPr>
            <a:lvl2pPr marL="248320" indent="0">
              <a:buNone/>
              <a:defRPr sz="1198">
                <a:solidFill>
                  <a:schemeClr val="bg1">
                    <a:lumMod val="50000"/>
                  </a:schemeClr>
                </a:solidFill>
              </a:defRPr>
            </a:lvl2pPr>
            <a:lvl3pPr marL="488005" indent="0">
              <a:buNone/>
              <a:defRPr sz="1198">
                <a:solidFill>
                  <a:schemeClr val="bg1">
                    <a:lumMod val="50000"/>
                  </a:schemeClr>
                </a:solidFill>
              </a:defRPr>
            </a:lvl3pPr>
            <a:lvl4pPr marL="736325" indent="0">
              <a:buNone/>
              <a:defRPr sz="1198">
                <a:solidFill>
                  <a:schemeClr val="bg1">
                    <a:lumMod val="50000"/>
                  </a:schemeClr>
                </a:solidFill>
              </a:defRPr>
            </a:lvl4pPr>
            <a:lvl5pPr marL="976009" indent="0">
              <a:buNone/>
              <a:defRPr sz="1198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B038BCAC-FB41-46BF-895D-97F890A8837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29717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ilde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5"/>
          </p:nvPr>
        </p:nvSpPr>
        <p:spPr>
          <a:xfrm>
            <a:off x="6087073" y="0"/>
            <a:ext cx="6096004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467"/>
            </a:lvl1pPr>
          </a:lstStyle>
          <a:p>
            <a:pPr lvl="0"/>
            <a:r>
              <a:rPr lang="nb-NO" noProof="0"/>
              <a:t>Klikk ikonet for å legge til et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18517" y="540000"/>
            <a:ext cx="4803215" cy="900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718517" y="1512000"/>
            <a:ext cx="4797415" cy="4500000"/>
          </a:xfrm>
        </p:spPr>
        <p:txBody>
          <a:bodyPr/>
          <a:lstStyle>
            <a:lvl1pPr marL="239155" indent="-239155">
              <a:defRPr/>
            </a:lvl1pPr>
            <a:lvl2pPr marL="575931" indent="-287965"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6" name="Plassholder for tekst 2"/>
          <p:cNvSpPr>
            <a:spLocks noGrp="1"/>
          </p:cNvSpPr>
          <p:nvPr>
            <p:ph type="body" idx="17"/>
          </p:nvPr>
        </p:nvSpPr>
        <p:spPr>
          <a:xfrm>
            <a:off x="11117514" y="6080400"/>
            <a:ext cx="715430" cy="4806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dato 3">
            <a:extLst>
              <a:ext uri="{FF2B5EF4-FFF2-40B4-BE49-F238E27FC236}">
                <a16:creationId xmlns:a16="http://schemas.microsoft.com/office/drawing/2014/main" id="{C5B84FA5-1522-4E12-9DF0-E0CDBBDCF203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8A58C7-59D8-48BE-8196-9AB48CA2C06F}" type="datetime3">
              <a:rPr lang="nb-NO" altLang="nb-NO"/>
              <a:pPr>
                <a:defRPr/>
              </a:pPr>
              <a:t>2024.09.24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41978139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ilde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5"/>
          </p:nvPr>
        </p:nvSpPr>
        <p:spPr>
          <a:xfrm>
            <a:off x="2" y="0"/>
            <a:ext cx="6096004" cy="6858000"/>
          </a:xfrm>
        </p:spPr>
        <p:txBody>
          <a:bodyPr/>
          <a:lstStyle>
            <a:lvl1pPr marL="0" indent="0" algn="ctr">
              <a:buNone/>
              <a:defRPr sz="1467"/>
            </a:lvl1pPr>
          </a:lstStyle>
          <a:p>
            <a:pPr lvl="0"/>
            <a:r>
              <a:rPr lang="nb-NO" noProof="0"/>
              <a:t>Klikk ikonet for å legge til et bilde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675183" y="540000"/>
            <a:ext cx="4803215" cy="900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675183" y="1512000"/>
            <a:ext cx="4797415" cy="4500000"/>
          </a:xfrm>
        </p:spPr>
        <p:txBody>
          <a:bodyPr/>
          <a:lstStyle>
            <a:lvl1pPr marL="239155" indent="-239155">
              <a:defRPr/>
            </a:lvl1pPr>
            <a:lvl2pPr marL="575931" indent="-287965">
              <a:defRPr/>
            </a:lvl2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5" name="Plassholder for dato 3">
            <a:extLst>
              <a:ext uri="{FF2B5EF4-FFF2-40B4-BE49-F238E27FC236}">
                <a16:creationId xmlns:a16="http://schemas.microsoft.com/office/drawing/2014/main" id="{01D7D1DF-2780-47A4-918E-0016F430E88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9EA32C-3AFB-4FBC-94AC-F4885F542B6B}" type="datetime3">
              <a:rPr lang="nb-NO" altLang="nb-NO"/>
              <a:pPr>
                <a:defRPr/>
              </a:pPr>
              <a:t>2024.09.24</a:t>
            </a:fld>
            <a:endParaRPr lang="en-US" altLang="nb-NO"/>
          </a:p>
        </p:txBody>
      </p:sp>
    </p:spTree>
    <p:extLst>
      <p:ext uri="{BB962C8B-B14F-4D97-AF65-F5344CB8AC3E}">
        <p14:creationId xmlns:p14="http://schemas.microsoft.com/office/powerpoint/2010/main" val="251581372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-Gu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8D59A25-CC67-904B-94FA-A733218E0E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387599"/>
            <a:ext cx="5699979" cy="271145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>
                <a:solidFill>
                  <a:schemeClr val="accent2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1" name="Bilde 10" descr="Et bilde som inneholder lys, natt&#10;&#10;Automatisk generert beskrivelse">
            <a:extLst>
              <a:ext uri="{FF2B5EF4-FFF2-40B4-BE49-F238E27FC236}">
                <a16:creationId xmlns:a16="http://schemas.microsoft.com/office/drawing/2014/main" id="{D6230F60-9D05-B348-BB17-F1A6A9FC46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560" y="459550"/>
            <a:ext cx="5209015" cy="5938900"/>
          </a:xfrm>
          <a:prstGeom prst="rect">
            <a:avLst/>
          </a:prstGeom>
        </p:spPr>
      </p:pic>
      <p:pic>
        <p:nvPicPr>
          <p:cNvPr id="13" name="Bilde 12" descr="Et bilde som inneholder tekst&#10;&#10;Automatisk generert beskrivelse">
            <a:extLst>
              <a:ext uri="{FF2B5EF4-FFF2-40B4-BE49-F238E27FC236}">
                <a16:creationId xmlns:a16="http://schemas.microsoft.com/office/drawing/2014/main" id="{B7E8B39C-FEAF-8446-BE52-DD477E8510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42196" y="252038"/>
            <a:ext cx="1605706" cy="1620000"/>
          </a:xfrm>
          <a:prstGeom prst="rect">
            <a:avLst/>
          </a:prstGeom>
        </p:spPr>
      </p:pic>
      <p:sp>
        <p:nvSpPr>
          <p:cNvPr id="15" name="Plassholder for bilde 2">
            <a:extLst>
              <a:ext uri="{FF2B5EF4-FFF2-40B4-BE49-F238E27FC236}">
                <a16:creationId xmlns:a16="http://schemas.microsoft.com/office/drawing/2014/main" id="{C719E032-03A5-0E4D-8679-2DD5305A56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5686425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7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tekst 2">
            <a:extLst>
              <a:ext uri="{FF2B5EF4-FFF2-40B4-BE49-F238E27FC236}">
                <a16:creationId xmlns:a16="http://schemas.microsoft.com/office/drawing/2014/main" id="{5FB49910-6AE0-B343-8199-1B605693BC22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093985" y="5181600"/>
            <a:ext cx="5699979" cy="1219199"/>
          </a:xfrm>
        </p:spPr>
        <p:txBody>
          <a:bodyPr tIns="72000">
            <a:normAutofit/>
          </a:bodyPr>
          <a:lstStyle>
            <a:lvl1pPr marL="0" indent="0">
              <a:buNone/>
              <a:defRPr sz="2100">
                <a:solidFill>
                  <a:schemeClr val="accent2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 [Dato]</a:t>
            </a:r>
          </a:p>
        </p:txBody>
      </p:sp>
    </p:spTree>
    <p:extLst>
      <p:ext uri="{BB962C8B-B14F-4D97-AF65-F5344CB8AC3E}">
        <p14:creationId xmlns:p14="http://schemas.microsoft.com/office/powerpoint/2010/main" val="23348317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-Gra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D6230F60-9D05-B348-BB17-F1A6A9FC46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07560" y="459550"/>
            <a:ext cx="5209014" cy="5938900"/>
          </a:xfrm>
          <a:prstGeom prst="rect">
            <a:avLst/>
          </a:prstGeom>
        </p:spPr>
      </p:pic>
      <p:sp>
        <p:nvSpPr>
          <p:cNvPr id="14" name="Plassholder for bilde 2">
            <a:extLst>
              <a:ext uri="{FF2B5EF4-FFF2-40B4-BE49-F238E27FC236}">
                <a16:creationId xmlns:a16="http://schemas.microsoft.com/office/drawing/2014/main" id="{192336D4-0FAB-5044-A5C7-365A33C914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5686425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7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pic>
        <p:nvPicPr>
          <p:cNvPr id="10" name="Bilde 9" descr="Et bilde som inneholder tekst&#10;&#10;Automatisk generert beskrivelse">
            <a:extLst>
              <a:ext uri="{FF2B5EF4-FFF2-40B4-BE49-F238E27FC236}">
                <a16:creationId xmlns:a16="http://schemas.microsoft.com/office/drawing/2014/main" id="{84E5F318-7511-8541-A4CC-A5AE9936F7F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42196" y="252038"/>
            <a:ext cx="1605706" cy="1620000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DB6138CD-6438-2C40-A417-B38C7831AA5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387599"/>
            <a:ext cx="5699979" cy="2711451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600" b="0">
                <a:solidFill>
                  <a:schemeClr val="bg2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8EE28CC0-D0CE-0842-AC88-D4EB414AA919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6093985" y="5181600"/>
            <a:ext cx="5699979" cy="1219199"/>
          </a:xfrm>
        </p:spPr>
        <p:txBody>
          <a:bodyPr tIns="72000">
            <a:normAutofit/>
          </a:bodyPr>
          <a:lstStyle>
            <a:lvl1pPr marL="0" indent="0">
              <a:buNone/>
              <a:defRPr sz="2100">
                <a:solidFill>
                  <a:schemeClr val="bg2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 [Dato]</a:t>
            </a:r>
          </a:p>
        </p:txBody>
      </p:sp>
    </p:spTree>
    <p:extLst>
      <p:ext uri="{BB962C8B-B14F-4D97-AF65-F5344CB8AC3E}">
        <p14:creationId xmlns:p14="http://schemas.microsoft.com/office/powerpoint/2010/main" val="30783090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6D1DB26-26CF-554E-BB30-E0F7A2ABC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1062039"/>
            <a:ext cx="11407775" cy="1301750"/>
          </a:xfrm>
        </p:spPr>
        <p:txBody>
          <a:bodyPr anchor="b">
            <a:normAutofit/>
          </a:bodyPr>
          <a:lstStyle>
            <a:lvl1pPr>
              <a:defRPr sz="3600"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04A8050A-B695-1547-8B1A-2F9C48A8F7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6873" y="2438400"/>
            <a:ext cx="11407778" cy="3738563"/>
          </a:xfrm>
        </p:spPr>
        <p:txBody>
          <a:bodyPr tIns="72000"/>
          <a:lstStyle>
            <a:lvl1pPr>
              <a:defRPr>
                <a:latin typeface="Bierstadt Display" panose="020B0504020202020204" pitchFamily="34" charset="0"/>
              </a:defRPr>
            </a:lvl1pPr>
            <a:lvl2pPr>
              <a:defRPr>
                <a:latin typeface="Bierstadt Display" panose="020B0504020202020204" pitchFamily="34" charset="0"/>
              </a:defRPr>
            </a:lvl2pPr>
            <a:lvl3pPr>
              <a:defRPr>
                <a:latin typeface="Bierstadt Display" panose="020B0504020202020204" pitchFamily="34" charset="0"/>
              </a:defRPr>
            </a:lvl3pPr>
            <a:lvl4pPr>
              <a:defRPr>
                <a:latin typeface="Bierstadt Display" panose="020B0504020202020204" pitchFamily="34" charset="0"/>
              </a:defRPr>
            </a:lvl4pPr>
            <a:lvl5pPr>
              <a:defRPr>
                <a:latin typeface="Bierstadt Display" panose="020B050402020202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E1D743B6-3F3F-0144-AE80-BAC011F620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FCCD1100-64F0-0143-AC90-EBB2BA21F1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1850" y="379413"/>
            <a:ext cx="812800" cy="6096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fld id="{1A643FE0-EDD9-B541-8F10-352F760D5A0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279403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8888810-CDD3-4B31-A4AB-CEA6DE3D17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0" y="1414800"/>
            <a:ext cx="6099176" cy="4752975"/>
          </a:xfrm>
          <a:gradFill>
            <a:gsLst>
              <a:gs pos="0">
                <a:schemeClr val="accent2"/>
              </a:gs>
              <a:gs pos="70000">
                <a:schemeClr val="tx2"/>
              </a:gs>
            </a:gsLst>
            <a:lin ang="13500000" scaled="1"/>
          </a:gradFill>
        </p:spPr>
        <p:txBody>
          <a:bodyPr lIns="626400" tIns="252000" rIns="144000" bIns="2520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mage 1">
            <a:extLst>
              <a:ext uri="{FF2B5EF4-FFF2-40B4-BE49-F238E27FC236}">
                <a16:creationId xmlns:a16="http://schemas.microsoft.com/office/drawing/2014/main" id="{1F47DA09-C1B9-4F79-811C-47680DD13F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242050" y="1414800"/>
            <a:ext cx="5949950" cy="2305049"/>
          </a:xfrm>
        </p:spPr>
        <p:txBody>
          <a:bodyPr lIns="144000" tIns="144000" rIns="144000" bIns="14400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Image 2">
            <a:extLst>
              <a:ext uri="{FF2B5EF4-FFF2-40B4-BE49-F238E27FC236}">
                <a16:creationId xmlns:a16="http://schemas.microsoft.com/office/drawing/2014/main" id="{B62DCAC0-0A0A-4FD1-9E6A-DFB48F5EAA1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242050" y="3862725"/>
            <a:ext cx="5949950" cy="2305050"/>
          </a:xfrm>
        </p:spPr>
        <p:txBody>
          <a:bodyPr lIns="144000" tIns="144000" rIns="144000" bIns="144000" anchor="b" anchorCtr="0"/>
          <a:lstStyle>
            <a:lvl1pPr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8651210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ktangel 15">
            <a:extLst>
              <a:ext uri="{FF2B5EF4-FFF2-40B4-BE49-F238E27FC236}">
                <a16:creationId xmlns:a16="http://schemas.microsoft.com/office/drawing/2014/main" id="{7F147279-BF00-BF40-8DF1-92DFA44645E5}"/>
              </a:ext>
            </a:extLst>
          </p:cNvPr>
          <p:cNvSpPr/>
          <p:nvPr userDrawn="1"/>
        </p:nvSpPr>
        <p:spPr>
          <a:xfrm>
            <a:off x="4810227" y="975996"/>
            <a:ext cx="3450543" cy="275621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b="0" i="0">
              <a:solidFill>
                <a:schemeClr val="tx2"/>
              </a:solidFill>
              <a:latin typeface="Bierstadt Display" panose="020B0004020202020204" pitchFamily="34" charset="0"/>
            </a:endParaRP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E1D743B6-3F3F-0144-AE80-BAC011F620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FCCD1100-64F0-0143-AC90-EBB2BA21F1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1850" y="379413"/>
            <a:ext cx="812800" cy="6096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fld id="{1A643FE0-EDD9-B541-8F10-352F760D5A0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91288E5F-14E1-A947-9BDE-CDB1121E4FA8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4810228" y="990918"/>
            <a:ext cx="3450542" cy="619125"/>
          </a:xfrm>
        </p:spPr>
        <p:txBody>
          <a:bodyPr lIns="144000" tIns="72000" rIns="144000" bIns="72000">
            <a:normAutofit/>
          </a:bodyPr>
          <a:lstStyle>
            <a:lvl1pPr marL="0" indent="0">
              <a:buNone/>
              <a:defRPr sz="2100">
                <a:solidFill>
                  <a:schemeClr val="tx2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1. Klikk for å redigere tekststiler i malen</a:t>
            </a:r>
          </a:p>
        </p:txBody>
      </p:sp>
      <p:sp>
        <p:nvSpPr>
          <p:cNvPr id="20" name="Plassholder for tekst 2">
            <a:extLst>
              <a:ext uri="{FF2B5EF4-FFF2-40B4-BE49-F238E27FC236}">
                <a16:creationId xmlns:a16="http://schemas.microsoft.com/office/drawing/2014/main" id="{893D80FC-E7FB-9B4B-8A9B-B50C8129BAA8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4810125" y="1809751"/>
            <a:ext cx="3441266" cy="1827530"/>
          </a:xfrm>
        </p:spPr>
        <p:txBody>
          <a:bodyPr lIns="144000" tIns="72000" rIns="144000" bIns="72000" anchor="t">
            <a:normAutofit/>
          </a:bodyPr>
          <a:lstStyle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F8AB413F-5634-844E-8ABC-DD1530934024}"/>
              </a:ext>
            </a:extLst>
          </p:cNvPr>
          <p:cNvSpPr/>
          <p:nvPr userDrawn="1"/>
        </p:nvSpPr>
        <p:spPr>
          <a:xfrm>
            <a:off x="4810227" y="3798887"/>
            <a:ext cx="3450543" cy="266128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b="0" i="0">
              <a:solidFill>
                <a:schemeClr val="tx2"/>
              </a:solidFill>
              <a:latin typeface="Bierstadt Display" panose="020B0004020202020204" pitchFamily="34" charset="0"/>
            </a:endParaRPr>
          </a:p>
        </p:txBody>
      </p:sp>
      <p:sp>
        <p:nvSpPr>
          <p:cNvPr id="25" name="Plassholder for tekst 2">
            <a:extLst>
              <a:ext uri="{FF2B5EF4-FFF2-40B4-BE49-F238E27FC236}">
                <a16:creationId xmlns:a16="http://schemas.microsoft.com/office/drawing/2014/main" id="{21EAE3C4-B4C0-8245-A5BD-65EA109D1963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4810228" y="3813809"/>
            <a:ext cx="3450542" cy="619125"/>
          </a:xfrm>
        </p:spPr>
        <p:txBody>
          <a:bodyPr lIns="144000" tIns="72000" rIns="144000" bIns="72000">
            <a:normAutofit/>
          </a:bodyPr>
          <a:lstStyle>
            <a:lvl1pPr marL="0" indent="0">
              <a:buNone/>
              <a:defRPr sz="2100">
                <a:solidFill>
                  <a:schemeClr val="tx2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3. Klikk for å redigere tekststiler i malen</a:t>
            </a:r>
          </a:p>
        </p:txBody>
      </p:sp>
      <p:sp>
        <p:nvSpPr>
          <p:cNvPr id="26" name="Plassholder for tekst 2">
            <a:extLst>
              <a:ext uri="{FF2B5EF4-FFF2-40B4-BE49-F238E27FC236}">
                <a16:creationId xmlns:a16="http://schemas.microsoft.com/office/drawing/2014/main" id="{A593DF1E-2C20-FE48-8047-64CB4D9DF17B}"/>
              </a:ext>
            </a:extLst>
          </p:cNvPr>
          <p:cNvSpPr>
            <a:spLocks noGrp="1"/>
          </p:cNvSpPr>
          <p:nvPr>
            <p:ph type="body" idx="23"/>
          </p:nvPr>
        </p:nvSpPr>
        <p:spPr>
          <a:xfrm>
            <a:off x="4810125" y="4632642"/>
            <a:ext cx="3441266" cy="1827530"/>
          </a:xfrm>
        </p:spPr>
        <p:txBody>
          <a:bodyPr lIns="144000" tIns="72000" rIns="144000" bIns="72000" anchor="t">
            <a:normAutofit/>
          </a:bodyPr>
          <a:lstStyle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9" name="Rektangel 38">
            <a:extLst>
              <a:ext uri="{FF2B5EF4-FFF2-40B4-BE49-F238E27FC236}">
                <a16:creationId xmlns:a16="http://schemas.microsoft.com/office/drawing/2014/main" id="{B604E649-B13D-704E-9852-FBA87AFC4069}"/>
              </a:ext>
            </a:extLst>
          </p:cNvPr>
          <p:cNvSpPr/>
          <p:nvPr userDrawn="1"/>
        </p:nvSpPr>
        <p:spPr>
          <a:xfrm>
            <a:off x="8366227" y="975996"/>
            <a:ext cx="3450543" cy="2756217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b="0" i="0">
              <a:solidFill>
                <a:schemeClr val="tx2"/>
              </a:solidFill>
              <a:latin typeface="Bierstadt Display" panose="020B0004020202020204" pitchFamily="34" charset="0"/>
            </a:endParaRPr>
          </a:p>
        </p:txBody>
      </p:sp>
      <p:sp>
        <p:nvSpPr>
          <p:cNvPr id="40" name="Plassholder for tekst 2">
            <a:extLst>
              <a:ext uri="{FF2B5EF4-FFF2-40B4-BE49-F238E27FC236}">
                <a16:creationId xmlns:a16="http://schemas.microsoft.com/office/drawing/2014/main" id="{7CB8B670-3173-1C41-BEC3-8C6A6E37B056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8366228" y="990918"/>
            <a:ext cx="3450542" cy="619125"/>
          </a:xfrm>
        </p:spPr>
        <p:txBody>
          <a:bodyPr lIns="144000" tIns="72000" rIns="144000" bIns="72000">
            <a:normAutofit/>
          </a:bodyPr>
          <a:lstStyle>
            <a:lvl1pPr marL="0" indent="0">
              <a:buNone/>
              <a:defRPr sz="2100">
                <a:solidFill>
                  <a:schemeClr val="tx2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2. Klikk for å redigere tekststiler i malen</a:t>
            </a:r>
          </a:p>
        </p:txBody>
      </p:sp>
      <p:sp>
        <p:nvSpPr>
          <p:cNvPr id="41" name="Plassholder for tekst 2">
            <a:extLst>
              <a:ext uri="{FF2B5EF4-FFF2-40B4-BE49-F238E27FC236}">
                <a16:creationId xmlns:a16="http://schemas.microsoft.com/office/drawing/2014/main" id="{84027DEB-FA72-A242-A201-639D267886A5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8366125" y="1809751"/>
            <a:ext cx="3441266" cy="1827530"/>
          </a:xfrm>
        </p:spPr>
        <p:txBody>
          <a:bodyPr lIns="144000" tIns="72000" rIns="144000" bIns="72000" anchor="t">
            <a:normAutofit/>
          </a:bodyPr>
          <a:lstStyle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2" name="Rektangel 41">
            <a:extLst>
              <a:ext uri="{FF2B5EF4-FFF2-40B4-BE49-F238E27FC236}">
                <a16:creationId xmlns:a16="http://schemas.microsoft.com/office/drawing/2014/main" id="{64B92368-F7CB-6F4D-BF80-0B5366B02216}"/>
              </a:ext>
            </a:extLst>
          </p:cNvPr>
          <p:cNvSpPr/>
          <p:nvPr userDrawn="1"/>
        </p:nvSpPr>
        <p:spPr>
          <a:xfrm>
            <a:off x="8366227" y="3798887"/>
            <a:ext cx="3450543" cy="266128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b="0" i="0">
              <a:solidFill>
                <a:schemeClr val="tx2"/>
              </a:solidFill>
              <a:latin typeface="Bierstadt Display" panose="020B0004020202020204" pitchFamily="34" charset="0"/>
            </a:endParaRPr>
          </a:p>
        </p:txBody>
      </p:sp>
      <p:sp>
        <p:nvSpPr>
          <p:cNvPr id="43" name="Plassholder for tekst 2">
            <a:extLst>
              <a:ext uri="{FF2B5EF4-FFF2-40B4-BE49-F238E27FC236}">
                <a16:creationId xmlns:a16="http://schemas.microsoft.com/office/drawing/2014/main" id="{94414D4E-7B5E-3E4B-97C6-0E9D3187E7D5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366228" y="3813809"/>
            <a:ext cx="3450542" cy="619125"/>
          </a:xfrm>
        </p:spPr>
        <p:txBody>
          <a:bodyPr lIns="144000" tIns="72000" rIns="144000" bIns="72000">
            <a:normAutofit/>
          </a:bodyPr>
          <a:lstStyle>
            <a:lvl1pPr marL="0" indent="0">
              <a:buNone/>
              <a:defRPr sz="2100">
                <a:solidFill>
                  <a:schemeClr val="tx2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4. Klikk for å redigere tekststiler i malen</a:t>
            </a:r>
          </a:p>
        </p:txBody>
      </p:sp>
      <p:sp>
        <p:nvSpPr>
          <p:cNvPr id="44" name="Plassholder for tekst 2">
            <a:extLst>
              <a:ext uri="{FF2B5EF4-FFF2-40B4-BE49-F238E27FC236}">
                <a16:creationId xmlns:a16="http://schemas.microsoft.com/office/drawing/2014/main" id="{18B954F8-83B0-F343-A4E4-62161A40E951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8366125" y="4632642"/>
            <a:ext cx="3441266" cy="1827530"/>
          </a:xfrm>
        </p:spPr>
        <p:txBody>
          <a:bodyPr lIns="144000" tIns="72000" rIns="144000" bIns="72000" anchor="t">
            <a:normAutofit/>
          </a:bodyPr>
          <a:lstStyle>
            <a:lvl1pPr marL="171450" indent="-171450"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Tittel 1">
            <a:extLst>
              <a:ext uri="{FF2B5EF4-FFF2-40B4-BE49-F238E27FC236}">
                <a16:creationId xmlns:a16="http://schemas.microsoft.com/office/drawing/2014/main" id="{08C97046-61E1-D144-B5B6-9AA4BA39C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1220788"/>
            <a:ext cx="4337050" cy="18176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46" name="Plassholder for tekst 2">
            <a:extLst>
              <a:ext uri="{FF2B5EF4-FFF2-40B4-BE49-F238E27FC236}">
                <a16:creationId xmlns:a16="http://schemas.microsoft.com/office/drawing/2014/main" id="{DBD3694A-239B-8640-BA47-23C2E3E2DA13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6876" y="3113087"/>
            <a:ext cx="4337050" cy="3352801"/>
          </a:xfrm>
        </p:spPr>
        <p:txBody>
          <a:bodyPr tIns="72000"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2628223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1920480-FEDA-3B46-9309-5D0B8C112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1062038"/>
            <a:ext cx="6094413" cy="1976437"/>
          </a:xfrm>
        </p:spPr>
        <p:txBody>
          <a:bodyPr anchor="b">
            <a:normAutofit/>
          </a:bodyPr>
          <a:lstStyle>
            <a:lvl1pPr>
              <a:defRPr sz="3600"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ACC5662-60D7-FF4D-A5AB-D10AA8220DD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875" y="3113087"/>
            <a:ext cx="6094413" cy="619125"/>
          </a:xfrm>
        </p:spPr>
        <p:txBody>
          <a:bodyPr tIns="72000"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E88F7433-7DD2-5848-9640-7C261EBEB129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96875" y="3805238"/>
            <a:ext cx="6094413" cy="26606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1200">
                <a:latin typeface="Bierstadt Display" panose="020B0504020202020204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BEEE38D7-2CD7-334E-BBD0-17E1347B9F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E0E5B612-060E-3F46-BFF4-FDBFD1A20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1850" y="379413"/>
            <a:ext cx="812800" cy="6096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fld id="{1A643FE0-EDD9-B541-8F10-352F760D5A0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475634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1920480-FEDA-3B46-9309-5D0B8C112B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5" y="1062038"/>
            <a:ext cx="6094413" cy="1976437"/>
          </a:xfrm>
        </p:spPr>
        <p:txBody>
          <a:bodyPr anchor="b">
            <a:normAutofit/>
          </a:bodyPr>
          <a:lstStyle>
            <a:lvl1pPr>
              <a:defRPr sz="3600"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BEEE38D7-2CD7-334E-BBD0-17E1347B9F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4" name="Plassholder for lysbildenummer 5">
            <a:extLst>
              <a:ext uri="{FF2B5EF4-FFF2-40B4-BE49-F238E27FC236}">
                <a16:creationId xmlns:a16="http://schemas.microsoft.com/office/drawing/2014/main" id="{E0E5B612-060E-3F46-BFF4-FDBFD1A20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1850" y="379413"/>
            <a:ext cx="812800" cy="6096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fld id="{1A643FE0-EDD9-B541-8F10-352F760D5A0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6E6E1743-8144-7349-AFE7-4FB86F1D2C5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6875" y="3732213"/>
            <a:ext cx="1690687" cy="1284287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Plassholder for bilde 8">
            <a:extLst>
              <a:ext uri="{FF2B5EF4-FFF2-40B4-BE49-F238E27FC236}">
                <a16:creationId xmlns:a16="http://schemas.microsoft.com/office/drawing/2014/main" id="{9840073C-51B6-1045-AE9C-AFA3919FEAA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2162177" y="3732213"/>
            <a:ext cx="1690687" cy="1284287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9" name="Plassholder for bilde 8">
            <a:extLst>
              <a:ext uri="{FF2B5EF4-FFF2-40B4-BE49-F238E27FC236}">
                <a16:creationId xmlns:a16="http://schemas.microsoft.com/office/drawing/2014/main" id="{1893590E-D87D-EA4A-ADE7-20E75DE8134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927475" y="3732213"/>
            <a:ext cx="1690687" cy="1284287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0" name="Plassholder for bilde 8">
            <a:extLst>
              <a:ext uri="{FF2B5EF4-FFF2-40B4-BE49-F238E27FC236}">
                <a16:creationId xmlns:a16="http://schemas.microsoft.com/office/drawing/2014/main" id="{1EEE3B66-D740-A242-8808-1631FC3686D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689602" y="3732213"/>
            <a:ext cx="1690687" cy="1284287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8B83C16-B90C-FF43-9CEF-4948CC8C62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96875" y="5181600"/>
            <a:ext cx="1690688" cy="275492"/>
          </a:xfrm>
        </p:spPr>
        <p:txBody>
          <a:bodyPr tIns="0">
            <a:norm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nb-NO"/>
              <a:t>Navn</a:t>
            </a:r>
          </a:p>
        </p:txBody>
      </p:sp>
      <p:sp>
        <p:nvSpPr>
          <p:cNvPr id="21" name="Plassholder for tekst 11">
            <a:extLst>
              <a:ext uri="{FF2B5EF4-FFF2-40B4-BE49-F238E27FC236}">
                <a16:creationId xmlns:a16="http://schemas.microsoft.com/office/drawing/2014/main" id="{1C40D6E1-D87F-F04B-AF52-2B1D2D5D0D3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162177" y="5181600"/>
            <a:ext cx="1690688" cy="275492"/>
          </a:xfrm>
        </p:spPr>
        <p:txBody>
          <a:bodyPr tIns="0">
            <a:norm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nb-NO"/>
              <a:t>Navn</a:t>
            </a:r>
          </a:p>
        </p:txBody>
      </p:sp>
      <p:sp>
        <p:nvSpPr>
          <p:cNvPr id="22" name="Plassholder for tekst 11">
            <a:extLst>
              <a:ext uri="{FF2B5EF4-FFF2-40B4-BE49-F238E27FC236}">
                <a16:creationId xmlns:a16="http://schemas.microsoft.com/office/drawing/2014/main" id="{F6A0FAAA-4F01-2845-B8DE-647953C7E6E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27475" y="5181600"/>
            <a:ext cx="1690688" cy="275492"/>
          </a:xfrm>
        </p:spPr>
        <p:txBody>
          <a:bodyPr tIns="0">
            <a:norm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nb-NO"/>
              <a:t>Navn</a:t>
            </a:r>
          </a:p>
        </p:txBody>
      </p:sp>
      <p:sp>
        <p:nvSpPr>
          <p:cNvPr id="23" name="Plassholder for tekst 11">
            <a:extLst>
              <a:ext uri="{FF2B5EF4-FFF2-40B4-BE49-F238E27FC236}">
                <a16:creationId xmlns:a16="http://schemas.microsoft.com/office/drawing/2014/main" id="{AD2C7F53-247E-2947-8C7C-3ED7B7535D4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89602" y="5181600"/>
            <a:ext cx="1690688" cy="275492"/>
          </a:xfrm>
        </p:spPr>
        <p:txBody>
          <a:bodyPr tIns="0">
            <a:normAutofit/>
          </a:bodyPr>
          <a:lstStyle>
            <a:lvl1pPr marL="0" indent="0">
              <a:buNone/>
              <a:defRPr sz="1200" b="1"/>
            </a:lvl1pPr>
          </a:lstStyle>
          <a:p>
            <a:pPr lvl="0"/>
            <a:r>
              <a:rPr lang="nb-NO"/>
              <a:t>Navn</a:t>
            </a:r>
          </a:p>
        </p:txBody>
      </p:sp>
      <p:sp>
        <p:nvSpPr>
          <p:cNvPr id="15" name="Plassholder for tekst 11">
            <a:extLst>
              <a:ext uri="{FF2B5EF4-FFF2-40B4-BE49-F238E27FC236}">
                <a16:creationId xmlns:a16="http://schemas.microsoft.com/office/drawing/2014/main" id="{FC2F70D1-6BD5-7C4E-9931-EAA61B74493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6875" y="5509846"/>
            <a:ext cx="1690688" cy="956042"/>
          </a:xfrm>
        </p:spPr>
        <p:txBody>
          <a:bodyPr tIns="0">
            <a:norm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nb-NO"/>
              <a:t>Info</a:t>
            </a:r>
          </a:p>
        </p:txBody>
      </p:sp>
      <p:sp>
        <p:nvSpPr>
          <p:cNvPr id="16" name="Plassholder for tekst 11">
            <a:extLst>
              <a:ext uri="{FF2B5EF4-FFF2-40B4-BE49-F238E27FC236}">
                <a16:creationId xmlns:a16="http://schemas.microsoft.com/office/drawing/2014/main" id="{5A804262-13E8-FF42-BD99-6B7742720B9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62177" y="5509846"/>
            <a:ext cx="1690688" cy="956042"/>
          </a:xfrm>
        </p:spPr>
        <p:txBody>
          <a:bodyPr tIns="0">
            <a:norm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nb-NO"/>
              <a:t>Info</a:t>
            </a:r>
          </a:p>
        </p:txBody>
      </p:sp>
      <p:sp>
        <p:nvSpPr>
          <p:cNvPr id="17" name="Plassholder for tekst 11">
            <a:extLst>
              <a:ext uri="{FF2B5EF4-FFF2-40B4-BE49-F238E27FC236}">
                <a16:creationId xmlns:a16="http://schemas.microsoft.com/office/drawing/2014/main" id="{9C18F09B-A87F-AC4C-B570-CC53D2DC511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927475" y="5509846"/>
            <a:ext cx="1690688" cy="956042"/>
          </a:xfrm>
        </p:spPr>
        <p:txBody>
          <a:bodyPr tIns="0">
            <a:norm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nb-NO"/>
              <a:t>Info</a:t>
            </a:r>
          </a:p>
        </p:txBody>
      </p:sp>
      <p:sp>
        <p:nvSpPr>
          <p:cNvPr id="24" name="Plassholder for tekst 11">
            <a:extLst>
              <a:ext uri="{FF2B5EF4-FFF2-40B4-BE49-F238E27FC236}">
                <a16:creationId xmlns:a16="http://schemas.microsoft.com/office/drawing/2014/main" id="{844C662E-64DD-3849-9AA0-F06170B26BC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89602" y="5509846"/>
            <a:ext cx="1690688" cy="956042"/>
          </a:xfrm>
        </p:spPr>
        <p:txBody>
          <a:bodyPr tIns="0">
            <a:normAutofit/>
          </a:bodyPr>
          <a:lstStyle>
            <a:lvl1pPr marL="0" indent="0">
              <a:spcBef>
                <a:spcPts val="0"/>
              </a:spcBef>
              <a:buNone/>
              <a:defRPr sz="1200"/>
            </a:lvl1pPr>
          </a:lstStyle>
          <a:p>
            <a:pPr lvl="0"/>
            <a:r>
              <a:rPr lang="nb-NO"/>
              <a:t>Info</a:t>
            </a:r>
          </a:p>
        </p:txBody>
      </p:sp>
    </p:spTree>
    <p:extLst>
      <p:ext uri="{BB962C8B-B14F-4D97-AF65-F5344CB8AC3E}">
        <p14:creationId xmlns:p14="http://schemas.microsoft.com/office/powerpoint/2010/main" val="40332212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4A046E1-820D-1942-997C-50AFE77E65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638" y="1182756"/>
            <a:ext cx="11403012" cy="1181029"/>
          </a:xfrm>
        </p:spPr>
        <p:txBody>
          <a:bodyPr anchor="b"/>
          <a:lstStyle>
            <a:lvl1pPr>
              <a:defRPr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8D8286C-DDA0-974A-9202-E54FCDFEE7D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6875" y="2438399"/>
            <a:ext cx="5699125" cy="4040188"/>
          </a:xfrm>
        </p:spPr>
        <p:txBody>
          <a:bodyPr tIns="72000"/>
          <a:lstStyle>
            <a:lvl1pPr>
              <a:defRPr>
                <a:latin typeface="Bierstadt Display" panose="020B0504020202020204" pitchFamily="34" charset="0"/>
              </a:defRPr>
            </a:lvl1pPr>
            <a:lvl2pPr>
              <a:defRPr>
                <a:latin typeface="Bierstadt Display" panose="020B0504020202020204" pitchFamily="34" charset="0"/>
              </a:defRPr>
            </a:lvl2pPr>
            <a:lvl3pPr>
              <a:defRPr>
                <a:latin typeface="Bierstadt Display" panose="020B0504020202020204" pitchFamily="34" charset="0"/>
              </a:defRPr>
            </a:lvl3pPr>
            <a:lvl4pPr>
              <a:defRPr>
                <a:latin typeface="Bierstadt Display" panose="020B0504020202020204" pitchFamily="34" charset="0"/>
              </a:defRPr>
            </a:lvl4pPr>
            <a:lvl5pPr>
              <a:defRPr>
                <a:latin typeface="Bierstadt Display" panose="020B050402020202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4DA1F87-46B4-E549-A15A-B777B5FCE9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83313" y="2434579"/>
            <a:ext cx="5621337" cy="4044008"/>
          </a:xfrm>
        </p:spPr>
        <p:txBody>
          <a:bodyPr tIns="72000"/>
          <a:lstStyle>
            <a:lvl1pPr>
              <a:defRPr>
                <a:latin typeface="Bierstadt Display" panose="020B0504020202020204" pitchFamily="34" charset="0"/>
              </a:defRPr>
            </a:lvl1pPr>
            <a:lvl2pPr>
              <a:defRPr>
                <a:latin typeface="Bierstadt Display" panose="020B0504020202020204" pitchFamily="34" charset="0"/>
              </a:defRPr>
            </a:lvl2pPr>
            <a:lvl3pPr>
              <a:defRPr>
                <a:latin typeface="Bierstadt Display" panose="020B0504020202020204" pitchFamily="34" charset="0"/>
              </a:defRPr>
            </a:lvl3pPr>
            <a:lvl4pPr>
              <a:defRPr>
                <a:latin typeface="Bierstadt Display" panose="020B0504020202020204" pitchFamily="34" charset="0"/>
              </a:defRPr>
            </a:lvl4pPr>
            <a:lvl5pPr>
              <a:defRPr>
                <a:latin typeface="Bierstadt Display" panose="020B050402020202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6543846E-7B5F-424C-B038-6E9F8EF2D1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1" name="Plassholder for lysbildenummer 5">
            <a:extLst>
              <a:ext uri="{FF2B5EF4-FFF2-40B4-BE49-F238E27FC236}">
                <a16:creationId xmlns:a16="http://schemas.microsoft.com/office/drawing/2014/main" id="{8A1EE2E8-BBC1-BD48-B5C2-6DA554EA6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91850" y="379413"/>
            <a:ext cx="812800" cy="609600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fld id="{1A643FE0-EDD9-B541-8F10-352F760D5A0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3580711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03FD1B9-2A7A-0A4D-A563-9CAD5E5520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638" y="1059805"/>
            <a:ext cx="11403012" cy="5406083"/>
          </a:xfrm>
        </p:spPr>
        <p:txBody>
          <a:bodyPr anchor="ctr">
            <a:normAutofit/>
          </a:bodyPr>
          <a:lstStyle>
            <a:lvl1pPr algn="ctr">
              <a:defRPr sz="10000"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CDC663B9-B3DD-AB4C-8D75-F477F38F7B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888B2B86-B0DF-D146-B9BF-A507C0419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Bierstadt Display" panose="020B0504020202020204" pitchFamily="34" charset="0"/>
              </a:defRPr>
            </a:lvl1pPr>
          </a:lstStyle>
          <a:p>
            <a:fld id="{1A643FE0-EDD9-B541-8F10-352F760D5A0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8382033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-Chapter">
    <p:bg>
      <p:bgPr>
        <a:solidFill>
          <a:srgbClr val="0303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0729A7D-B5EB-0946-8F9D-DE439EB9B2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744428" y="428903"/>
            <a:ext cx="5994051" cy="6000193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5008A82D-463D-C443-BD68-13897A603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1220788"/>
            <a:ext cx="4337050" cy="18176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accent2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9A21E3E0-BC5E-0645-B65C-B053D6AD3BE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9052" y="309471"/>
            <a:ext cx="925200" cy="647915"/>
          </a:xfrm>
          <a:prstGeom prst="rect">
            <a:avLst/>
          </a:prstGeom>
        </p:spPr>
      </p:pic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9A3E510F-C006-5447-AC55-3BAD476410EF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6876" y="3113087"/>
            <a:ext cx="4337050" cy="3352801"/>
          </a:xfrm>
        </p:spPr>
        <p:txBody>
          <a:bodyPr tIns="72000">
            <a:normAutofit/>
          </a:bodyPr>
          <a:lstStyle>
            <a:lvl1pPr marL="0" indent="0">
              <a:buNone/>
              <a:defRPr sz="2100">
                <a:solidFill>
                  <a:schemeClr val="accent2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bilde 2">
            <a:extLst>
              <a:ext uri="{FF2B5EF4-FFF2-40B4-BE49-F238E27FC236}">
                <a16:creationId xmlns:a16="http://schemas.microsoft.com/office/drawing/2014/main" id="{8C49A907-01B2-9449-9DA1-59E2C3B057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616575" y="379412"/>
            <a:ext cx="6188075" cy="6086476"/>
          </a:xfrm>
        </p:spPr>
        <p:txBody>
          <a:bodyPr anchor="ctr"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47626625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-Chapter">
    <p:bg>
      <p:bgPr>
        <a:solidFill>
          <a:schemeClr val="tx2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0729A7D-B5EB-0946-8F9D-DE439EB9B2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744428" y="471852"/>
            <a:ext cx="5994051" cy="5914293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5008A82D-463D-C443-BD68-13897A603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1220788"/>
            <a:ext cx="4337050" cy="18176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2">
            <a:extLst>
              <a:ext uri="{FF2B5EF4-FFF2-40B4-BE49-F238E27FC236}">
                <a16:creationId xmlns:a16="http://schemas.microsoft.com/office/drawing/2014/main" id="{8C49A907-01B2-9449-9DA1-59E2C3B057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616575" y="379412"/>
            <a:ext cx="6188075" cy="6086476"/>
          </a:xfrm>
        </p:spPr>
        <p:txBody>
          <a:bodyPr anchor="ctr"/>
          <a:lstStyle>
            <a:lvl1pPr marL="0" indent="0" algn="ctr">
              <a:buNone/>
              <a:defRPr sz="3200">
                <a:solidFill>
                  <a:schemeClr val="bg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2">
            <a:extLst>
              <a:ext uri="{FF2B5EF4-FFF2-40B4-BE49-F238E27FC236}">
                <a16:creationId xmlns:a16="http://schemas.microsoft.com/office/drawing/2014/main" id="{9A3E510F-C006-5447-AC55-3BAD476410EF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6876" y="3113087"/>
            <a:ext cx="4337050" cy="3352801"/>
          </a:xfrm>
        </p:spPr>
        <p:txBody>
          <a:bodyPr tIns="72000"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196B509-74D9-A140-9246-9774710B240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8007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-Chapter">
    <p:bg>
      <p:bgPr>
        <a:solidFill>
          <a:schemeClr val="accent2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rist&#10;&#10;Automatisk generert beskrivelse">
            <a:extLst>
              <a:ext uri="{FF2B5EF4-FFF2-40B4-BE49-F238E27FC236}">
                <a16:creationId xmlns:a16="http://schemas.microsoft.com/office/drawing/2014/main" id="{B0729A7D-B5EB-0946-8F9D-DE439EB9B2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87785" y="428903"/>
            <a:ext cx="6107339" cy="6000193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5008A82D-463D-C443-BD68-13897A603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1220788"/>
            <a:ext cx="4337050" cy="18176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bg1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3" name="Plassholder for bilde 2">
            <a:extLst>
              <a:ext uri="{FF2B5EF4-FFF2-40B4-BE49-F238E27FC236}">
                <a16:creationId xmlns:a16="http://schemas.microsoft.com/office/drawing/2014/main" id="{8C49A907-01B2-9449-9DA1-59E2C3B057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616575" y="379412"/>
            <a:ext cx="6188075" cy="6086476"/>
          </a:xfrm>
        </p:spPr>
        <p:txBody>
          <a:bodyPr anchor="ctr"/>
          <a:lstStyle>
            <a:lvl1pPr marL="0" indent="0" algn="ctr">
              <a:buNone/>
              <a:defRPr sz="3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pic>
        <p:nvPicPr>
          <p:cNvPr id="14" name="Bilde 13" descr="Et bilde som inneholder tekst, utklipp, silhuetter&#10;&#10;Automatisk generert beskrivelse">
            <a:extLst>
              <a:ext uri="{FF2B5EF4-FFF2-40B4-BE49-F238E27FC236}">
                <a16:creationId xmlns:a16="http://schemas.microsoft.com/office/drawing/2014/main" id="{59E56331-F0AD-434B-98ED-A5DAF7A24A2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9052" y="309471"/>
            <a:ext cx="925322" cy="648000"/>
          </a:xfrm>
          <a:prstGeom prst="rect">
            <a:avLst/>
          </a:prstGeom>
        </p:spPr>
      </p:pic>
      <p:sp>
        <p:nvSpPr>
          <p:cNvPr id="16" name="Plassholder for tekst 2">
            <a:extLst>
              <a:ext uri="{FF2B5EF4-FFF2-40B4-BE49-F238E27FC236}">
                <a16:creationId xmlns:a16="http://schemas.microsoft.com/office/drawing/2014/main" id="{34E00271-E200-7A4A-9AB9-148AB91CB4A7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6876" y="3113087"/>
            <a:ext cx="4337050" cy="3352801"/>
          </a:xfrm>
        </p:spPr>
        <p:txBody>
          <a:bodyPr tIns="72000">
            <a:normAutofit/>
          </a:bodyPr>
          <a:lstStyle>
            <a:lvl1pPr marL="0" indent="0">
              <a:buNone/>
              <a:defRPr sz="2100">
                <a:solidFill>
                  <a:schemeClr val="bg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06128610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365005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6CE0E45-78E0-4047-9B54-C62F4B693E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10125" y="379413"/>
            <a:ext cx="6984999" cy="6099174"/>
          </a:xfrm>
        </p:spPr>
        <p:txBody>
          <a:bodyPr/>
          <a:lstStyle>
            <a:lvl1pPr>
              <a:defRPr sz="3200">
                <a:latin typeface="Bierstadt Display" panose="020B0504020202020204" pitchFamily="34" charset="0"/>
              </a:defRPr>
            </a:lvl1pPr>
            <a:lvl2pPr>
              <a:defRPr sz="2800">
                <a:latin typeface="Bierstadt Display" panose="020B0504020202020204" pitchFamily="34" charset="0"/>
              </a:defRPr>
            </a:lvl2pPr>
            <a:lvl3pPr>
              <a:defRPr sz="2400">
                <a:latin typeface="Bierstadt Display" panose="020B0504020202020204" pitchFamily="34" charset="0"/>
              </a:defRPr>
            </a:lvl3pPr>
            <a:lvl4pPr>
              <a:defRPr sz="2000">
                <a:latin typeface="Bierstadt Display" panose="020B0504020202020204" pitchFamily="34" charset="0"/>
              </a:defRPr>
            </a:lvl4pPr>
            <a:lvl5pPr>
              <a:defRPr sz="2000">
                <a:latin typeface="Bierstadt Display" panose="020B05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2D03D8D1-1C0C-3E47-B32B-D92D76B527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1220788"/>
            <a:ext cx="3454399" cy="1817687"/>
          </a:xfrm>
        </p:spPr>
        <p:txBody>
          <a:bodyPr anchor="b">
            <a:normAutofit/>
          </a:bodyPr>
          <a:lstStyle>
            <a:lvl1pPr>
              <a:defRPr sz="3600">
                <a:latin typeface="Bierstadt Display" panose="020B0504020202020204" pitchFamily="34" charset="0"/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3" name="Plassholder for tekst 2">
            <a:extLst>
              <a:ext uri="{FF2B5EF4-FFF2-40B4-BE49-F238E27FC236}">
                <a16:creationId xmlns:a16="http://schemas.microsoft.com/office/drawing/2014/main" id="{AF3F635B-76B5-C746-A729-B01EB9CF1B1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96874" y="3113088"/>
            <a:ext cx="3454401" cy="3352800"/>
          </a:xfrm>
          <a:prstGeom prst="rect">
            <a:avLst/>
          </a:prstGeom>
        </p:spPr>
        <p:txBody>
          <a:bodyPr vert="horz" lIns="0" tIns="72000" rIns="0" bIns="0" rtlCol="0">
            <a:normAutofit/>
          </a:bodyPr>
          <a:lstStyle>
            <a:lvl1pPr marL="0" indent="0">
              <a:buNone/>
              <a:defRPr sz="1800">
                <a:latin typeface="Bierstadt Display" panose="020B0504020202020204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86FD8245-AE92-1C42-9E75-CB695B1ED6B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5279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C7ECFA6D-1332-4048-BA8C-6F8F3DE9B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B1D90D2F-1E41-4D9A-A464-3F2D94D5000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-1" y="1414800"/>
            <a:ext cx="8834437" cy="2305050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Copy 2">
            <a:extLst>
              <a:ext uri="{FF2B5EF4-FFF2-40B4-BE49-F238E27FC236}">
                <a16:creationId xmlns:a16="http://schemas.microsoft.com/office/drawing/2014/main" id="{CF25AA35-A10D-4021-80D5-F4E01F03217D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1" y="3862800"/>
            <a:ext cx="8834437" cy="2305049"/>
          </a:xfrm>
        </p:spPr>
        <p:txBody>
          <a:bodyPr lIns="6264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5056231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>
            <a:extLst>
              <a:ext uri="{FF2B5EF4-FFF2-40B4-BE49-F238E27FC236}">
                <a16:creationId xmlns:a16="http://schemas.microsoft.com/office/drawing/2014/main" id="{5008A82D-463D-C443-BD68-13897A603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1220788"/>
            <a:ext cx="3454399" cy="1817687"/>
          </a:xfrm>
        </p:spPr>
        <p:txBody>
          <a:bodyPr anchor="b">
            <a:normAutofit/>
          </a:bodyPr>
          <a:lstStyle>
            <a:lvl1pPr>
              <a:defRPr sz="3600"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tekst 2">
            <a:extLst>
              <a:ext uri="{FF2B5EF4-FFF2-40B4-BE49-F238E27FC236}">
                <a16:creationId xmlns:a16="http://schemas.microsoft.com/office/drawing/2014/main" id="{72DC5180-F926-FB49-A2A7-C2B5097967F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396875" y="3113088"/>
            <a:ext cx="3454400" cy="3352800"/>
          </a:xfrm>
          <a:prstGeom prst="rect">
            <a:avLst/>
          </a:prstGeom>
        </p:spPr>
        <p:txBody>
          <a:bodyPr vert="horz" lIns="0" tIns="72000" rIns="0" bIns="0" rtlCol="0">
            <a:normAutofit/>
          </a:bodyPr>
          <a:lstStyle>
            <a:lvl1pPr marL="0" indent="0">
              <a:buNone/>
              <a:defRPr sz="1800">
                <a:latin typeface="Bierstadt Display" panose="020B0504020202020204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0541BFD4-DB69-3D44-A39E-ECAC4BC1CE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3" name="Plassholder for bilde 2">
            <a:extLst>
              <a:ext uri="{FF2B5EF4-FFF2-40B4-BE49-F238E27FC236}">
                <a16:creationId xmlns:a16="http://schemas.microsoft.com/office/drawing/2014/main" id="{8C49A907-01B2-9449-9DA1-59E2C3B057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810125" y="379413"/>
            <a:ext cx="6984999" cy="2659062"/>
          </a:xfrm>
        </p:spPr>
        <p:txBody>
          <a:bodyPr anchor="ctr"/>
          <a:lstStyle>
            <a:lvl1pPr marL="0" indent="0" algn="ctr">
              <a:buNone/>
              <a:defRPr sz="3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7" name="Plassholder for bilde 2">
            <a:extLst>
              <a:ext uri="{FF2B5EF4-FFF2-40B4-BE49-F238E27FC236}">
                <a16:creationId xmlns:a16="http://schemas.microsoft.com/office/drawing/2014/main" id="{4F79720C-C8FE-DE47-B71B-42AC09DB07D5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810126" y="3113088"/>
            <a:ext cx="3465512" cy="3365499"/>
          </a:xfrm>
        </p:spPr>
        <p:txBody>
          <a:bodyPr anchor="ctr"/>
          <a:lstStyle>
            <a:lvl1pPr marL="0" indent="0" algn="ctr">
              <a:buNone/>
              <a:defRPr sz="3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bilde 2">
            <a:extLst>
              <a:ext uri="{FF2B5EF4-FFF2-40B4-BE49-F238E27FC236}">
                <a16:creationId xmlns:a16="http://schemas.microsoft.com/office/drawing/2014/main" id="{E3759250-B118-6842-8EAB-163263B82838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8350250" y="3113088"/>
            <a:ext cx="3454400" cy="3365499"/>
          </a:xfrm>
        </p:spPr>
        <p:txBody>
          <a:bodyPr anchor="ctr"/>
          <a:lstStyle>
            <a:lvl1pPr marL="0" indent="0" algn="ctr">
              <a:buNone/>
              <a:defRPr sz="3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30911418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2">
            <a:extLst>
              <a:ext uri="{FF2B5EF4-FFF2-40B4-BE49-F238E27FC236}">
                <a16:creationId xmlns:a16="http://schemas.microsoft.com/office/drawing/2014/main" id="{4F79720C-C8FE-DE47-B71B-42AC09DB07D5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4810126" y="3113088"/>
            <a:ext cx="3465512" cy="3365499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bilde 2">
            <a:extLst>
              <a:ext uri="{FF2B5EF4-FFF2-40B4-BE49-F238E27FC236}">
                <a16:creationId xmlns:a16="http://schemas.microsoft.com/office/drawing/2014/main" id="{E3759250-B118-6842-8EAB-163263B82838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8350250" y="3113088"/>
            <a:ext cx="3454400" cy="3365499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372F5052-4C61-E240-92A7-27E7721E17A2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387212" y="379413"/>
            <a:ext cx="4346713" cy="6099174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bilde 2">
            <a:extLst>
              <a:ext uri="{FF2B5EF4-FFF2-40B4-BE49-F238E27FC236}">
                <a16:creationId xmlns:a16="http://schemas.microsoft.com/office/drawing/2014/main" id="{BB4FEE5C-A491-BE4A-A0F8-DD68599B3F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810125" y="379413"/>
            <a:ext cx="6984999" cy="2659062"/>
          </a:xfrm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6310838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 descr="Et bilde som inneholder mørk, natt&#10;&#10;Automatisk generert beskrivelse">
            <a:extLst>
              <a:ext uri="{FF2B5EF4-FFF2-40B4-BE49-F238E27FC236}">
                <a16:creationId xmlns:a16="http://schemas.microsoft.com/office/drawing/2014/main" id="{3A8AA453-13C6-D547-B223-9DCCD5617C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711707" y="376238"/>
            <a:ext cx="6083417" cy="6089650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0541BFD4-DB69-3D44-A39E-ECAC4BC1CE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9052" y="304800"/>
            <a:ext cx="927161" cy="649288"/>
          </a:xfrm>
          <a:prstGeom prst="rect">
            <a:avLst/>
          </a:prstGeom>
        </p:spPr>
      </p:pic>
      <p:sp>
        <p:nvSpPr>
          <p:cNvPr id="13" name="Plassholder for bilde 2">
            <a:extLst>
              <a:ext uri="{FF2B5EF4-FFF2-40B4-BE49-F238E27FC236}">
                <a16:creationId xmlns:a16="http://schemas.microsoft.com/office/drawing/2014/main" id="{8C49A907-01B2-9449-9DA1-59E2C3B057E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616575" y="0"/>
            <a:ext cx="6575424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3200"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6" name="Tittel 1">
            <a:extLst>
              <a:ext uri="{FF2B5EF4-FFF2-40B4-BE49-F238E27FC236}">
                <a16:creationId xmlns:a16="http://schemas.microsoft.com/office/drawing/2014/main" id="{8D0455FC-1266-694D-9B11-4A02527114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6876" y="1220788"/>
            <a:ext cx="4337050" cy="1817687"/>
          </a:xfrm>
        </p:spPr>
        <p:txBody>
          <a:bodyPr anchor="b">
            <a:normAutofit/>
          </a:bodyPr>
          <a:lstStyle>
            <a:lvl1pPr>
              <a:defRPr sz="36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7" name="Plassholder for tekst 2">
            <a:extLst>
              <a:ext uri="{FF2B5EF4-FFF2-40B4-BE49-F238E27FC236}">
                <a16:creationId xmlns:a16="http://schemas.microsoft.com/office/drawing/2014/main" id="{5538EC3F-E169-C248-8F07-6DDFEE651AF6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396876" y="3113087"/>
            <a:ext cx="4337050" cy="3352801"/>
          </a:xfrm>
        </p:spPr>
        <p:txBody>
          <a:bodyPr tIns="72000">
            <a:normAutofit/>
          </a:bodyPr>
          <a:lstStyle>
            <a:lvl1pPr marL="0" indent="0">
              <a:buNone/>
              <a:defRPr sz="21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4303353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lde med teks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CEBD2D0-D23C-594A-922F-9CDB5F1377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6875" y="379413"/>
            <a:ext cx="11407913" cy="6080898"/>
          </a:xfrm>
          <a:prstGeom prst="rect">
            <a:avLst/>
          </a:prstGeom>
        </p:spPr>
      </p:pic>
      <p:sp>
        <p:nvSpPr>
          <p:cNvPr id="9" name="Plassholder for bilde 2">
            <a:extLst>
              <a:ext uri="{FF2B5EF4-FFF2-40B4-BE49-F238E27FC236}">
                <a16:creationId xmlns:a16="http://schemas.microsoft.com/office/drawing/2014/main" id="{372F5052-4C61-E240-92A7-27E7721E17A2}"/>
              </a:ext>
            </a:extLst>
          </p:cNvPr>
          <p:cNvSpPr>
            <a:spLocks noGrp="1"/>
          </p:cNvSpPr>
          <p:nvPr>
            <p:ph type="pic" idx="17"/>
          </p:nvPr>
        </p:nvSpPr>
        <p:spPr>
          <a:xfrm>
            <a:off x="0" y="0"/>
            <a:ext cx="12192000" cy="6858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10000">
                <a:solidFill>
                  <a:schemeClr val="bg1"/>
                </a:solidFill>
                <a:latin typeface="Bierstadt Display" panose="020B05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46286838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ilde med teks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 descr="Et bilde som inneholder tekst&#10;&#10;Automatisk generert beskrivelse">
            <a:extLst>
              <a:ext uri="{FF2B5EF4-FFF2-40B4-BE49-F238E27FC236}">
                <a16:creationId xmlns:a16="http://schemas.microsoft.com/office/drawing/2014/main" id="{A9A19276-7924-5F45-8EB3-B672357DDB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56050" y="1270000"/>
            <a:ext cx="4279900" cy="431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384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6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oleObject" Target="../embeddings/oleObject3.bin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oleObject" Target="../embeddings/oleObject5.bin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tags" Target="../tags/tag1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60.xml"/><Relationship Id="rId21" Type="http://schemas.openxmlformats.org/officeDocument/2006/relationships/tags" Target="../tags/tag14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image" Target="../media/image9.emf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9.xml"/><Relationship Id="rId21" Type="http://schemas.openxmlformats.org/officeDocument/2006/relationships/oleObject" Target="../embeddings/oleObject9.bin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86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image" Target="../media/image2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E3325E-C111-422A-B953-F8F21788D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698373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06" imgH="306" progId="TCLayout.ActiveDocument.1">
                  <p:embed/>
                </p:oleObj>
              </mc:Choice>
              <mc:Fallback>
                <p:oleObj name="think-cell Slide" r:id="rId2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E3325E-C111-422A-B953-F8F21788D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546AE2A-3641-4D5E-A640-4148F7D3DA5E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1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err="1"/>
              <a:t>Juni</a:t>
            </a:r>
            <a:r>
              <a:rPr lang="en-US" sz="1000" b="0" noProof="0"/>
              <a:t> 2022</a:t>
            </a:r>
          </a:p>
        </p:txBody>
      </p:sp>
    </p:spTree>
    <p:extLst>
      <p:ext uri="{BB962C8B-B14F-4D97-AF65-F5344CB8AC3E}">
        <p14:creationId xmlns:p14="http://schemas.microsoft.com/office/powerpoint/2010/main" val="2658137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  <p:sldLayoutId id="2147484025" r:id="rId2"/>
    <p:sldLayoutId id="2147484026" r:id="rId3"/>
    <p:sldLayoutId id="2147484027" r:id="rId4"/>
    <p:sldLayoutId id="2147484028" r:id="rId5"/>
    <p:sldLayoutId id="2147484029" r:id="rId6"/>
    <p:sldLayoutId id="2147484030" r:id="rId7"/>
    <p:sldLayoutId id="2147484031" r:id="rId8"/>
    <p:sldLayoutId id="2147484032" r:id="rId9"/>
    <p:sldLayoutId id="2147484033" r:id="rId10"/>
    <p:sldLayoutId id="2147484034" r:id="rId11"/>
    <p:sldLayoutId id="2147484035" r:id="rId12"/>
    <p:sldLayoutId id="2147484036" r:id="rId13"/>
    <p:sldLayoutId id="2147484037" r:id="rId14"/>
    <p:sldLayoutId id="2147484038" r:id="rId15"/>
    <p:sldLayoutId id="2147484039" r:id="rId16"/>
    <p:sldLayoutId id="2147484040" r:id="rId17"/>
    <p:sldLayoutId id="2147484041" r:id="rId18"/>
    <p:sldLayoutId id="2147484042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E3325E-C111-422A-B953-F8F21788D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89629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06" imgH="306" progId="TCLayout.ActiveDocument.1">
                  <p:embed/>
                </p:oleObj>
              </mc:Choice>
              <mc:Fallback>
                <p:oleObj name="think-cell Slide" r:id="rId2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E3325E-C111-422A-B953-F8F21788D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546AE2A-3641-4D5E-A640-4148F7D3DA5E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1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err="1"/>
              <a:t>Juni</a:t>
            </a:r>
            <a:r>
              <a:rPr lang="en-US" sz="1000" b="0" noProof="0"/>
              <a:t> 2022</a:t>
            </a:r>
          </a:p>
        </p:txBody>
      </p:sp>
    </p:spTree>
    <p:extLst>
      <p:ext uri="{BB962C8B-B14F-4D97-AF65-F5344CB8AC3E}">
        <p14:creationId xmlns:p14="http://schemas.microsoft.com/office/powerpoint/2010/main" val="3607162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5" r:id="rId1"/>
    <p:sldLayoutId id="2147484046" r:id="rId2"/>
    <p:sldLayoutId id="2147484047" r:id="rId3"/>
    <p:sldLayoutId id="2147484048" r:id="rId4"/>
    <p:sldLayoutId id="2147484049" r:id="rId5"/>
    <p:sldLayoutId id="2147484050" r:id="rId6"/>
    <p:sldLayoutId id="2147484051" r:id="rId7"/>
    <p:sldLayoutId id="2147484052" r:id="rId8"/>
    <p:sldLayoutId id="2147484053" r:id="rId9"/>
    <p:sldLayoutId id="2147484054" r:id="rId10"/>
    <p:sldLayoutId id="2147484055" r:id="rId11"/>
    <p:sldLayoutId id="2147484056" r:id="rId12"/>
    <p:sldLayoutId id="2147484057" r:id="rId13"/>
    <p:sldLayoutId id="2147484058" r:id="rId14"/>
    <p:sldLayoutId id="2147484059" r:id="rId15"/>
    <p:sldLayoutId id="2147484060" r:id="rId16"/>
    <p:sldLayoutId id="2147484061" r:id="rId17"/>
    <p:sldLayoutId id="2147484062" r:id="rId18"/>
    <p:sldLayoutId id="2147484063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5E3325E-C111-422A-B953-F8F21788D0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38707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06" imgH="306" progId="TCLayout.ActiveDocument.1">
                  <p:embed/>
                </p:oleObj>
              </mc:Choice>
              <mc:Fallback>
                <p:oleObj name="think-cell Slide" r:id="rId23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5E3325E-C111-422A-B953-F8F21788D0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1546AE2A-3641-4D5E-A640-4148F7D3DA5E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solidFill>
                <a:schemeClr val="tx1"/>
              </a:solidFill>
              <a:latin typeface="Times New Roman" panose="02020603050405020304" pitchFamily="18" charset="0"/>
              <a:ea typeface="+mj-ea"/>
              <a:cs typeface="+mj-cs"/>
              <a:sym typeface="Times New Roman" panose="02020603050405020304" pitchFamily="18" charset="0"/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DF6C5D22-2D05-436C-B3FF-684C0326B5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"/>
            <a:ext cx="9659938" cy="1414800"/>
          </a:xfrm>
          <a:prstGeom prst="rect">
            <a:avLst/>
          </a:prstGeom>
        </p:spPr>
        <p:txBody>
          <a:bodyPr vert="horz" lIns="626400" tIns="37800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3E46A9A-BF3F-41A6-ABFA-1F80C067E1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82073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Copyright">
            <a:extLst>
              <a:ext uri="{FF2B5EF4-FFF2-40B4-BE49-F238E27FC236}">
                <a16:creationId xmlns:a16="http://schemas.microsoft.com/office/drawing/2014/main" id="{C256CC5F-2E32-487E-8F3C-5F626C2236B3}"/>
              </a:ext>
            </a:extLst>
          </p:cNvPr>
          <p:cNvSpPr txBox="1"/>
          <p:nvPr userDrawn="1"/>
        </p:nvSpPr>
        <p:spPr>
          <a:xfrm>
            <a:off x="6242050" y="6526800"/>
            <a:ext cx="5949950" cy="331200"/>
          </a:xfrm>
          <a:prstGeom prst="rect">
            <a:avLst/>
          </a:prstGeom>
          <a:noFill/>
        </p:spPr>
        <p:txBody>
          <a:bodyPr wrap="square" lIns="626400" tIns="0" rIns="482400" bIns="0" rtlCol="0" anchor="t">
            <a:noAutofit/>
          </a:bodyPr>
          <a:lstStyle/>
          <a:p>
            <a:pPr algn="r"/>
            <a:r>
              <a:rPr lang="en-US" sz="1000" b="0" noProof="0"/>
              <a:t> © Siemens Energy, 2021</a:t>
            </a:r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00B4D258-65B1-4091-875A-AE678469BF41}"/>
              </a:ext>
            </a:extLst>
          </p:cNvPr>
          <p:cNvSpPr txBox="1"/>
          <p:nvPr userDrawn="1"/>
        </p:nvSpPr>
        <p:spPr>
          <a:xfrm>
            <a:off x="-1" y="6526800"/>
            <a:ext cx="1692000" cy="331200"/>
          </a:xfrm>
          <a:prstGeom prst="rect">
            <a:avLst/>
          </a:prstGeom>
          <a:noFill/>
        </p:spPr>
        <p:txBody>
          <a:bodyPr wrap="square" lIns="626400" tIns="0" rIns="0" bIns="0" rtlCol="0" anchor="t">
            <a:noAutofit/>
          </a:bodyPr>
          <a:lstStyle/>
          <a:p>
            <a:pPr algn="l"/>
            <a:r>
              <a:rPr lang="en-US" sz="1000" b="0" noProof="0" err="1"/>
              <a:t>Juni</a:t>
            </a:r>
            <a:r>
              <a:rPr lang="en-US" sz="1000" b="0" noProof="0"/>
              <a:t> 2022</a:t>
            </a:r>
          </a:p>
        </p:txBody>
      </p:sp>
    </p:spTree>
    <p:extLst>
      <p:ext uri="{BB962C8B-B14F-4D97-AF65-F5344CB8AC3E}">
        <p14:creationId xmlns:p14="http://schemas.microsoft.com/office/powerpoint/2010/main" val="2211184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7" r:id="rId1"/>
    <p:sldLayoutId id="2147484068" r:id="rId2"/>
    <p:sldLayoutId id="2147484069" r:id="rId3"/>
    <p:sldLayoutId id="2147484070" r:id="rId4"/>
    <p:sldLayoutId id="2147484071" r:id="rId5"/>
    <p:sldLayoutId id="2147484072" r:id="rId6"/>
    <p:sldLayoutId id="2147484073" r:id="rId7"/>
    <p:sldLayoutId id="2147484074" r:id="rId8"/>
    <p:sldLayoutId id="2147484075" r:id="rId9"/>
    <p:sldLayoutId id="2147484076" r:id="rId10"/>
    <p:sldLayoutId id="2147484077" r:id="rId11"/>
    <p:sldLayoutId id="2147484078" r:id="rId12"/>
    <p:sldLayoutId id="2147484079" r:id="rId13"/>
    <p:sldLayoutId id="2147484080" r:id="rId14"/>
    <p:sldLayoutId id="2147484081" r:id="rId15"/>
    <p:sldLayoutId id="2147484082" r:id="rId16"/>
    <p:sldLayoutId id="2147484083" r:id="rId17"/>
    <p:sldLayoutId id="2147484084" r:id="rId18"/>
    <p:sldLayoutId id="2147484085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">
          <p15:clr>
            <a:srgbClr val="009999"/>
          </p15:clr>
        </p15:guide>
        <p15:guide id="2" pos="2662">
          <p15:clr>
            <a:srgbClr val="009999"/>
          </p15:clr>
        </p15:guide>
        <p15:guide id="3" pos="3842">
          <p15:clr>
            <a:srgbClr val="009999"/>
          </p15:clr>
        </p15:guide>
        <p15:guide id="4" pos="3932">
          <p15:clr>
            <a:srgbClr val="009999"/>
          </p15:clr>
        </p15:guide>
        <p15:guide id="5" pos="5565">
          <p15:clr>
            <a:srgbClr val="009999"/>
          </p15:clr>
        </p15:guide>
        <p15:guide id="6" pos="6087">
          <p15:clr>
            <a:srgbClr val="009999"/>
          </p15:clr>
        </p15:guide>
        <p15:guide id="7" pos="7379">
          <p15:clr>
            <a:srgbClr val="009999"/>
          </p15:clr>
        </p15:guide>
        <p15:guide id="9" orient="horz" pos="891">
          <p15:clr>
            <a:srgbClr val="009999"/>
          </p15:clr>
        </p15:guide>
        <p15:guide id="10" orient="horz" pos="1073">
          <p15:clr>
            <a:srgbClr val="009999"/>
          </p15:clr>
        </p15:guide>
        <p15:guide id="11" orient="horz" pos="2343">
          <p15:clr>
            <a:srgbClr val="009999"/>
          </p15:clr>
        </p15:guide>
        <p15:guide id="12" orient="horz" pos="2433">
          <p15:clr>
            <a:srgbClr val="009999"/>
          </p15:clr>
        </p15:guide>
        <p15:guide id="13" orient="horz" pos="3703">
          <p15:clr>
            <a:srgbClr val="009999"/>
          </p15:clr>
        </p15:guide>
        <p15:guide id="14" orient="horz" pos="3885">
          <p15:clr>
            <a:srgbClr val="009999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FE48F03-DA02-425D-9D4B-A391C19CE9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5303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9" imgH="408" progId="TCLayout.ActiveDocument.1">
                  <p:embed/>
                </p:oleObj>
              </mc:Choice>
              <mc:Fallback>
                <p:oleObj name="think-cell Slide" r:id="rId22" imgW="409" imgH="4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FE48F03-DA02-425D-9D4B-A391C19CE9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D3A50CE2-9F92-CE4F-BCD5-E43DCE339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638" y="1059806"/>
            <a:ext cx="11403012" cy="130398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0468ABF-B09F-CE48-965C-6A4130EB1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875" y="2438399"/>
            <a:ext cx="11407775" cy="334327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AE0570E-6A0F-F64E-9985-8CF6828F9E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26550" y="5856288"/>
            <a:ext cx="2578100" cy="5929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fld id="{DF343ADC-7667-4AC5-B297-E83C23860E01}" type="datetime1">
              <a:rPr lang="nb-NO" smtClean="0"/>
              <a:t>24.09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42F89AA-131F-2F41-8B80-4A624F379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6875" y="5856288"/>
            <a:ext cx="4556125" cy="5929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my.sharepoint.com/personal/havard_tamburstuen_l_/</a:t>
            </a:r>
          </a:p>
        </p:txBody>
      </p:sp>
      <p:sp>
        <p:nvSpPr>
          <p:cNvPr id="15" name="Plassholder for lysbildenummer 5">
            <a:extLst>
              <a:ext uri="{FF2B5EF4-FFF2-40B4-BE49-F238E27FC236}">
                <a16:creationId xmlns:a16="http://schemas.microsoft.com/office/drawing/2014/main" id="{78F284F3-D9AB-5647-A545-5F13A53234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1850" y="379413"/>
            <a:ext cx="812800" cy="6096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fld id="{1A643FE0-EDD9-B541-8F10-352F760D5A0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51071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8" r:id="rId1"/>
    <p:sldLayoutId id="2147484299" r:id="rId2"/>
    <p:sldLayoutId id="2147484300" r:id="rId3"/>
    <p:sldLayoutId id="2147484301" r:id="rId4"/>
    <p:sldLayoutId id="2147484302" r:id="rId5"/>
    <p:sldLayoutId id="2147484303" r:id="rId6"/>
    <p:sldLayoutId id="2147484304" r:id="rId7"/>
    <p:sldLayoutId id="2147484305" r:id="rId8"/>
    <p:sldLayoutId id="2147484306" r:id="rId9"/>
    <p:sldLayoutId id="2147484307" r:id="rId10"/>
    <p:sldLayoutId id="2147484308" r:id="rId11"/>
    <p:sldLayoutId id="2147484309" r:id="rId12"/>
    <p:sldLayoutId id="2147484310" r:id="rId13"/>
    <p:sldLayoutId id="2147484311" r:id="rId14"/>
    <p:sldLayoutId id="2147484312" r:id="rId15"/>
    <p:sldLayoutId id="2147484313" r:id="rId16"/>
    <p:sldLayoutId id="2147484314" r:id="rId17"/>
    <p:sldLayoutId id="2147484315" r:id="rId18"/>
    <p:sldLayoutId id="2147484316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ierstadt Display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ierstadt Display" panose="020B05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Bierstadt Display" panose="020B05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Bierstadt Display" panose="020B05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ierstadt Display" panose="020B05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Bierstadt Display" panose="020B05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61">
          <p15:clr>
            <a:srgbClr val="F26B43"/>
          </p15:clr>
        </p15:guide>
        <p15:guide id="2" orient="horz" pos="239">
          <p15:clr>
            <a:srgbClr val="F26B43"/>
          </p15:clr>
        </p15:guide>
        <p15:guide id="3" orient="horz" pos="623">
          <p15:clr>
            <a:srgbClr val="F26B43"/>
          </p15:clr>
        </p15:guide>
        <p15:guide id="4" orient="horz" pos="1536">
          <p15:clr>
            <a:srgbClr val="F26B43"/>
          </p15:clr>
        </p15:guide>
        <p15:guide id="5" orient="horz" pos="1914">
          <p15:clr>
            <a:srgbClr val="F26B43"/>
          </p15:clr>
        </p15:guide>
        <p15:guide id="6" orient="horz" pos="2351">
          <p15:clr>
            <a:srgbClr val="F26B43"/>
          </p15:clr>
        </p15:guide>
        <p15:guide id="7" orient="horz" pos="2781">
          <p15:clr>
            <a:srgbClr val="F26B43"/>
          </p15:clr>
        </p15:guide>
        <p15:guide id="8" orient="horz" pos="3212">
          <p15:clr>
            <a:srgbClr val="F26B43"/>
          </p15:clr>
        </p15:guide>
        <p15:guide id="9" orient="horz" pos="3264">
          <p15:clr>
            <a:srgbClr val="F26B43"/>
          </p15:clr>
        </p15:guide>
        <p15:guide id="10" orient="horz" pos="3642">
          <p15:clr>
            <a:srgbClr val="F26B43"/>
          </p15:clr>
        </p15:guide>
        <p15:guide id="13" orient="horz" pos="669">
          <p15:clr>
            <a:srgbClr val="F26B43"/>
          </p15:clr>
        </p15:guide>
        <p15:guide id="14" orient="horz" pos="1053">
          <p15:clr>
            <a:srgbClr val="F26B43"/>
          </p15:clr>
        </p15:guide>
        <p15:guide id="15" orient="horz" pos="1105">
          <p15:clr>
            <a:srgbClr val="F26B43"/>
          </p15:clr>
        </p15:guide>
        <p15:guide id="16" orient="horz" pos="1489">
          <p15:clr>
            <a:srgbClr val="F26B43"/>
          </p15:clr>
        </p15:guide>
        <p15:guide id="17" orient="horz" pos="2397">
          <p15:clr>
            <a:srgbClr val="F26B43"/>
          </p15:clr>
        </p15:guide>
        <p15:guide id="18" orient="horz" pos="2828">
          <p15:clr>
            <a:srgbClr val="F26B43"/>
          </p15:clr>
        </p15:guide>
        <p15:guide id="19" orient="horz" pos="3689">
          <p15:clr>
            <a:srgbClr val="F26B43"/>
          </p15:clr>
        </p15:guide>
        <p15:guide id="20" orient="horz" pos="4073">
          <p15:clr>
            <a:srgbClr val="F26B43"/>
          </p15:clr>
        </p15:guide>
        <p15:guide id="21" pos="250">
          <p15:clr>
            <a:srgbClr val="F26B43"/>
          </p15:clr>
        </p15:guide>
        <p15:guide id="22" pos="762">
          <p15:clr>
            <a:srgbClr val="F26B43"/>
          </p15:clr>
        </p15:guide>
        <p15:guide id="23" pos="809">
          <p15:clr>
            <a:srgbClr val="F26B43"/>
          </p15:clr>
        </p15:guide>
        <p15:guide id="24" pos="1315">
          <p15:clr>
            <a:srgbClr val="F26B43"/>
          </p15:clr>
        </p15:guide>
        <p15:guide id="25" pos="1361">
          <p15:clr>
            <a:srgbClr val="F26B43"/>
          </p15:clr>
        </p15:guide>
        <p15:guide id="26" pos="1873">
          <p15:clr>
            <a:srgbClr val="F26B43"/>
          </p15:clr>
        </p15:guide>
        <p15:guide id="27" pos="1920">
          <p15:clr>
            <a:srgbClr val="F26B43"/>
          </p15:clr>
        </p15:guide>
        <p15:guide id="28" pos="2426">
          <p15:clr>
            <a:srgbClr val="F26B43"/>
          </p15:clr>
        </p15:guide>
        <p15:guide id="29" pos="2473">
          <p15:clr>
            <a:srgbClr val="F26B43"/>
          </p15:clr>
        </p15:guide>
        <p15:guide id="30" pos="2982">
          <p15:clr>
            <a:srgbClr val="F26B43"/>
          </p15:clr>
        </p15:guide>
        <p15:guide id="31" pos="3030">
          <p15:clr>
            <a:srgbClr val="F26B43"/>
          </p15:clr>
        </p15:guide>
        <p15:guide id="32" pos="3538">
          <p15:clr>
            <a:srgbClr val="F26B43"/>
          </p15:clr>
        </p15:guide>
        <p15:guide id="33" pos="3582">
          <p15:clr>
            <a:srgbClr val="F26B43"/>
          </p15:clr>
        </p15:guide>
        <p15:guide id="34" pos="4655">
          <p15:clr>
            <a:srgbClr val="F26B43"/>
          </p15:clr>
        </p15:guide>
        <p15:guide id="35" pos="4701">
          <p15:clr>
            <a:srgbClr val="F26B43"/>
          </p15:clr>
        </p15:guide>
        <p15:guide id="36" pos="5213">
          <p15:clr>
            <a:srgbClr val="F26B43"/>
          </p15:clr>
        </p15:guide>
        <p15:guide id="37" pos="5260">
          <p15:clr>
            <a:srgbClr val="F26B43"/>
          </p15:clr>
        </p15:guide>
        <p15:guide id="38" pos="5766">
          <p15:clr>
            <a:srgbClr val="F26B43"/>
          </p15:clr>
        </p15:guide>
        <p15:guide id="39" pos="5812">
          <p15:clr>
            <a:srgbClr val="F26B43"/>
          </p15:clr>
        </p15:guide>
        <p15:guide id="40" pos="6324">
          <p15:clr>
            <a:srgbClr val="F26B43"/>
          </p15:clr>
        </p15:guide>
        <p15:guide id="41" pos="6371">
          <p15:clr>
            <a:srgbClr val="F26B43"/>
          </p15:clr>
        </p15:guide>
        <p15:guide id="42" pos="6877">
          <p15:clr>
            <a:srgbClr val="F26B43"/>
          </p15:clr>
        </p15:guide>
        <p15:guide id="43" pos="6924">
          <p15:clr>
            <a:srgbClr val="F26B43"/>
          </p15:clr>
        </p15:guide>
        <p15:guide id="44" pos="7436">
          <p15:clr>
            <a:srgbClr val="F26B43"/>
          </p15:clr>
        </p15:guide>
        <p15:guide id="45" pos="4146">
          <p15:clr>
            <a:srgbClr val="F26B43"/>
          </p15:clr>
        </p15:guide>
        <p15:guide id="46" pos="408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FC1D01E-7C63-4BD4-882B-0CA1568F9D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856317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07" imgH="306" progId="TCLayout.ActiveDocument.1">
                  <p:embed/>
                </p:oleObj>
              </mc:Choice>
              <mc:Fallback>
                <p:oleObj name="think-cell Slide" r:id="rId21" imgW="307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FC1D01E-7C63-4BD4-882B-0CA1568F9D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D3A50CE2-9F92-CE4F-BCD5-E43DCE339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638" y="1059806"/>
            <a:ext cx="11403012" cy="130398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0468ABF-B09F-CE48-965C-6A4130EB12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96875" y="2438399"/>
            <a:ext cx="11407775" cy="3343275"/>
          </a:xfrm>
          <a:prstGeom prst="rect">
            <a:avLst/>
          </a:prstGeom>
        </p:spPr>
        <p:txBody>
          <a:bodyPr vert="horz" lIns="0" tIns="72000" rIns="0" bIns="0" rtlCol="0" anchor="t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AE0570E-6A0F-F64E-9985-8CF6828F9E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26550" y="5856288"/>
            <a:ext cx="2578100" cy="5929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fld id="{791F93E4-0A8E-C642-9108-E22ED4D45869}" type="datetimeFigureOut">
              <a:rPr lang="nb-NO" smtClean="0"/>
              <a:pPr/>
              <a:t>24.09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42F89AA-131F-2F41-8B80-4A624F379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6875" y="5856288"/>
            <a:ext cx="8756650" cy="5929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r>
              <a:rPr lang="nb-NO"/>
              <a:t>450147_v1/EgilJ</a:t>
            </a:r>
          </a:p>
        </p:txBody>
      </p:sp>
      <p:sp>
        <p:nvSpPr>
          <p:cNvPr id="15" name="Plassholder for lysbildenummer 5">
            <a:extLst>
              <a:ext uri="{FF2B5EF4-FFF2-40B4-BE49-F238E27FC236}">
                <a16:creationId xmlns:a16="http://schemas.microsoft.com/office/drawing/2014/main" id="{78F284F3-D9AB-5647-A545-5F13A53234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91850" y="379413"/>
            <a:ext cx="812800" cy="6096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>
                <a:solidFill>
                  <a:schemeClr val="tx1"/>
                </a:solidFill>
                <a:latin typeface="Bierstadt Display" panose="020B0504020202020204" pitchFamily="34" charset="0"/>
              </a:defRPr>
            </a:lvl1pPr>
          </a:lstStyle>
          <a:p>
            <a:fld id="{1A643FE0-EDD9-B541-8F10-352F760D5A0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05820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  <p:sldLayoutId id="2147484429" r:id="rId11"/>
    <p:sldLayoutId id="2147484430" r:id="rId12"/>
    <p:sldLayoutId id="2147484431" r:id="rId13"/>
    <p:sldLayoutId id="2147484432" r:id="rId14"/>
    <p:sldLayoutId id="2147484433" r:id="rId15"/>
    <p:sldLayoutId id="2147484434" r:id="rId16"/>
    <p:sldLayoutId id="2147484435" r:id="rId17"/>
    <p:sldLayoutId id="2147484436" r:id="rId18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Bierstadt Display" panose="020B05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Bierstadt Display" panose="020B05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Bierstadt Display" panose="020B05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Bierstadt Display" panose="020B05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Bierstadt Display" panose="020B05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Bierstadt Display" panose="020B05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61">
          <p15:clr>
            <a:srgbClr val="A4A3A4"/>
          </p15:clr>
        </p15:guide>
        <p15:guide id="2" orient="horz" pos="232">
          <p15:clr>
            <a:srgbClr val="A4A3A4"/>
          </p15:clr>
        </p15:guide>
        <p15:guide id="3" orient="horz" pos="623">
          <p15:clr>
            <a:srgbClr val="A4A3A4"/>
          </p15:clr>
        </p15:guide>
        <p15:guide id="4" orient="horz" pos="1536">
          <p15:clr>
            <a:srgbClr val="A4A3A4"/>
          </p15:clr>
        </p15:guide>
        <p15:guide id="5" orient="horz" pos="1914">
          <p15:clr>
            <a:srgbClr val="A4A3A4"/>
          </p15:clr>
        </p15:guide>
        <p15:guide id="6" orient="horz" pos="2351">
          <p15:clr>
            <a:srgbClr val="A4A3A4"/>
          </p15:clr>
        </p15:guide>
        <p15:guide id="7" orient="horz" pos="2781">
          <p15:clr>
            <a:srgbClr val="A4A3A4"/>
          </p15:clr>
        </p15:guide>
        <p15:guide id="8" orient="horz" pos="3212">
          <p15:clr>
            <a:srgbClr val="A4A3A4"/>
          </p15:clr>
        </p15:guide>
        <p15:guide id="9" orient="horz" pos="3264">
          <p15:clr>
            <a:srgbClr val="A4A3A4"/>
          </p15:clr>
        </p15:guide>
        <p15:guide id="10" orient="horz" pos="3642">
          <p15:clr>
            <a:srgbClr val="A4A3A4"/>
          </p15:clr>
        </p15:guide>
        <p15:guide id="13" orient="horz" pos="669">
          <p15:clr>
            <a:srgbClr val="A4A3A4"/>
          </p15:clr>
        </p15:guide>
        <p15:guide id="14" orient="horz" pos="1053">
          <p15:clr>
            <a:srgbClr val="A4A3A4"/>
          </p15:clr>
        </p15:guide>
        <p15:guide id="15" orient="horz" pos="1105">
          <p15:clr>
            <a:srgbClr val="A4A3A4"/>
          </p15:clr>
        </p15:guide>
        <p15:guide id="16" orient="horz" pos="1489">
          <p15:clr>
            <a:srgbClr val="A4A3A4"/>
          </p15:clr>
        </p15:guide>
        <p15:guide id="17" orient="horz" pos="2397">
          <p15:clr>
            <a:srgbClr val="A4A3A4"/>
          </p15:clr>
        </p15:guide>
        <p15:guide id="18" orient="horz" pos="2828">
          <p15:clr>
            <a:srgbClr val="A4A3A4"/>
          </p15:clr>
        </p15:guide>
        <p15:guide id="19" orient="horz" pos="3689">
          <p15:clr>
            <a:srgbClr val="A4A3A4"/>
          </p15:clr>
        </p15:guide>
        <p15:guide id="20" orient="horz" pos="4073">
          <p15:clr>
            <a:srgbClr val="A4A3A4"/>
          </p15:clr>
        </p15:guide>
        <p15:guide id="21" pos="244">
          <p15:clr>
            <a:srgbClr val="A4A3A4"/>
          </p15:clr>
        </p15:guide>
        <p15:guide id="22" pos="762">
          <p15:clr>
            <a:srgbClr val="A4A3A4"/>
          </p15:clr>
        </p15:guide>
        <p15:guide id="23" pos="809">
          <p15:clr>
            <a:srgbClr val="A4A3A4"/>
          </p15:clr>
        </p15:guide>
        <p15:guide id="24" pos="1315">
          <p15:clr>
            <a:srgbClr val="A4A3A4"/>
          </p15:clr>
        </p15:guide>
        <p15:guide id="25" pos="1361">
          <p15:clr>
            <a:srgbClr val="A4A3A4"/>
          </p15:clr>
        </p15:guide>
        <p15:guide id="26" pos="1873">
          <p15:clr>
            <a:srgbClr val="A4A3A4"/>
          </p15:clr>
        </p15:guide>
        <p15:guide id="27" pos="1920">
          <p15:clr>
            <a:srgbClr val="A4A3A4"/>
          </p15:clr>
        </p15:guide>
        <p15:guide id="28" pos="2426">
          <p15:clr>
            <a:srgbClr val="A4A3A4"/>
          </p15:clr>
        </p15:guide>
        <p15:guide id="29" pos="2473">
          <p15:clr>
            <a:srgbClr val="A4A3A4"/>
          </p15:clr>
        </p15:guide>
        <p15:guide id="30" pos="2982">
          <p15:clr>
            <a:srgbClr val="A4A3A4"/>
          </p15:clr>
        </p15:guide>
        <p15:guide id="31" pos="3030">
          <p15:clr>
            <a:srgbClr val="A4A3A4"/>
          </p15:clr>
        </p15:guide>
        <p15:guide id="32" pos="3538">
          <p15:clr>
            <a:srgbClr val="A4A3A4"/>
          </p15:clr>
        </p15:guide>
        <p15:guide id="33" pos="3582">
          <p15:clr>
            <a:srgbClr val="A4A3A4"/>
          </p15:clr>
        </p15:guide>
        <p15:guide id="34" pos="4655">
          <p15:clr>
            <a:srgbClr val="A4A3A4"/>
          </p15:clr>
        </p15:guide>
        <p15:guide id="35" pos="4701">
          <p15:clr>
            <a:srgbClr val="A4A3A4"/>
          </p15:clr>
        </p15:guide>
        <p15:guide id="36" pos="5213">
          <p15:clr>
            <a:srgbClr val="A4A3A4"/>
          </p15:clr>
        </p15:guide>
        <p15:guide id="37" pos="5260">
          <p15:clr>
            <a:srgbClr val="A4A3A4"/>
          </p15:clr>
        </p15:guide>
        <p15:guide id="38" pos="5766">
          <p15:clr>
            <a:srgbClr val="A4A3A4"/>
          </p15:clr>
        </p15:guide>
        <p15:guide id="39" pos="5812">
          <p15:clr>
            <a:srgbClr val="A4A3A4"/>
          </p15:clr>
        </p15:guide>
        <p15:guide id="40" pos="6324">
          <p15:clr>
            <a:srgbClr val="A4A3A4"/>
          </p15:clr>
        </p15:guide>
        <p15:guide id="41" pos="6371">
          <p15:clr>
            <a:srgbClr val="A4A3A4"/>
          </p15:clr>
        </p15:guide>
        <p15:guide id="42" pos="6877">
          <p15:clr>
            <a:srgbClr val="A4A3A4"/>
          </p15:clr>
        </p15:guide>
        <p15:guide id="43" pos="6924">
          <p15:clr>
            <a:srgbClr val="A4A3A4"/>
          </p15:clr>
        </p15:guide>
        <p15:guide id="44" pos="7436">
          <p15:clr>
            <a:srgbClr val="A4A3A4"/>
          </p15:clr>
        </p15:guide>
        <p15:guide id="45" pos="4146">
          <p15:clr>
            <a:srgbClr val="A4A3A4"/>
          </p15:clr>
        </p15:guide>
        <p15:guide id="46" pos="408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7.xml"/><Relationship Id="rId6" Type="http://schemas.openxmlformats.org/officeDocument/2006/relationships/image" Target="../media/image26.jpe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10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4.xml"/><Relationship Id="rId6" Type="http://schemas.openxmlformats.org/officeDocument/2006/relationships/diagramColors" Target="../diagrams/colors4.xml"/><Relationship Id="rId11" Type="http://schemas.openxmlformats.org/officeDocument/2006/relationships/image" Target="../media/image46.svg"/><Relationship Id="rId5" Type="http://schemas.openxmlformats.org/officeDocument/2006/relationships/diagramQuickStyle" Target="../diagrams/quickStyle4.xml"/><Relationship Id="rId15" Type="http://schemas.openxmlformats.org/officeDocument/2006/relationships/image" Target="../media/image44.svg"/><Relationship Id="rId10" Type="http://schemas.openxmlformats.org/officeDocument/2006/relationships/image" Target="../media/image45.png"/><Relationship Id="rId4" Type="http://schemas.openxmlformats.org/officeDocument/2006/relationships/diagramLayout" Target="../diagrams/layout4.xml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4.xml"/><Relationship Id="rId6" Type="http://schemas.openxmlformats.org/officeDocument/2006/relationships/diagramColors" Target="../diagrams/colors5.xml"/><Relationship Id="rId11" Type="http://schemas.openxmlformats.org/officeDocument/2006/relationships/image" Target="../media/image46.svg"/><Relationship Id="rId5" Type="http://schemas.openxmlformats.org/officeDocument/2006/relationships/diagramQuickStyle" Target="../diagrams/quickStyle5.xml"/><Relationship Id="rId15" Type="http://schemas.openxmlformats.org/officeDocument/2006/relationships/image" Target="../media/image44.svg"/><Relationship Id="rId10" Type="http://schemas.openxmlformats.org/officeDocument/2006/relationships/image" Target="../media/image45.png"/><Relationship Id="rId4" Type="http://schemas.openxmlformats.org/officeDocument/2006/relationships/diagramLayout" Target="../diagrams/layout5.xml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67.xml"/><Relationship Id="rId1" Type="http://schemas.openxmlformats.org/officeDocument/2006/relationships/tags" Target="../tags/tag18.xml"/><Relationship Id="rId6" Type="http://schemas.openxmlformats.org/officeDocument/2006/relationships/image" Target="../media/image28.jpeg"/><Relationship Id="rId11" Type="http://schemas.openxmlformats.org/officeDocument/2006/relationships/image" Target="../media/image33.png"/><Relationship Id="rId5" Type="http://schemas.openxmlformats.org/officeDocument/2006/relationships/image" Target="../media/image27.emf"/><Relationship Id="rId10" Type="http://schemas.openxmlformats.org/officeDocument/2006/relationships/image" Target="../media/image32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3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4.xml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4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40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4.xml"/><Relationship Id="rId6" Type="http://schemas.openxmlformats.org/officeDocument/2006/relationships/diagramColors" Target="../diagrams/colors2.xml"/><Relationship Id="rId11" Type="http://schemas.openxmlformats.org/officeDocument/2006/relationships/image" Target="../media/image40.svg"/><Relationship Id="rId5" Type="http://schemas.openxmlformats.org/officeDocument/2006/relationships/diagramQuickStyle" Target="../diagrams/quickStyle2.xml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sv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4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40.svg"/><Relationship Id="rId5" Type="http://schemas.openxmlformats.org/officeDocument/2006/relationships/diagramQuickStyle" Target="../diagrams/quickStyle3.xml"/><Relationship Id="rId15" Type="http://schemas.openxmlformats.org/officeDocument/2006/relationships/image" Target="../media/image44.svg"/><Relationship Id="rId10" Type="http://schemas.openxmlformats.org/officeDocument/2006/relationships/image" Target="../media/image39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38.svg"/><Relationship Id="rId14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57EDED9-3A6C-4BF6-A85F-FAA94F3236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0754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57EDED9-3A6C-4BF6-A85F-FAA94F3236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C2567D47-C4F6-4E16-A15F-EDFD186DFE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387600"/>
            <a:ext cx="5699979" cy="2616480"/>
          </a:xfrm>
        </p:spPr>
        <p:txBody>
          <a:bodyPr vert="horz">
            <a:normAutofit/>
          </a:bodyPr>
          <a:lstStyle/>
          <a:p>
            <a:r>
              <a:rPr lang="nb-NO" sz="4800" dirty="0"/>
              <a:t>Topplederens ansvar</a:t>
            </a:r>
          </a:p>
        </p:txBody>
      </p:sp>
      <p:pic>
        <p:nvPicPr>
          <p:cNvPr id="399364" name="Picture 4" descr="Kan være et bilde av en eller flere personer, utendørs og tekst som sier 'ett'">
            <a:extLst>
              <a:ext uri="{FF2B5EF4-FFF2-40B4-BE49-F238E27FC236}">
                <a16:creationId xmlns:a16="http://schemas.microsoft.com/office/drawing/2014/main" id="{05B2D5A6-C746-40A8-8053-D396D9583532}"/>
              </a:ext>
            </a:extLst>
          </p:cNvPr>
          <p:cNvPicPr>
            <a:picLocks noGrp="1" noChangeAspect="1" noChangeArrowheads="1"/>
          </p:cNvPicPr>
          <p:nvPr>
            <p:ph type="pic"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52" r="22352"/>
          <a:stretch>
            <a:fillRect/>
          </a:stretch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tel 1">
            <a:extLst>
              <a:ext uri="{FF2B5EF4-FFF2-40B4-BE49-F238E27FC236}">
                <a16:creationId xmlns:a16="http://schemas.microsoft.com/office/drawing/2014/main" id="{78AF25AB-9C1E-0CA7-346E-2283CE84755E}"/>
              </a:ext>
            </a:extLst>
          </p:cNvPr>
          <p:cNvSpPr txBox="1">
            <a:spLocks/>
          </p:cNvSpPr>
          <p:nvPr/>
        </p:nvSpPr>
        <p:spPr>
          <a:xfrm>
            <a:off x="6095999" y="5200644"/>
            <a:ext cx="5699979" cy="884521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0" kern="1200">
                <a:solidFill>
                  <a:schemeClr val="accent1"/>
                </a:solidFill>
                <a:latin typeface="Bierstadt Display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nb-NO" sz="2800" dirty="0"/>
              <a:t>Trond Winther</a:t>
            </a:r>
          </a:p>
          <a:p>
            <a:r>
              <a:rPr lang="nb-NO" sz="2400" dirty="0"/>
              <a:t>Administrerende Direktør i Lnett</a:t>
            </a:r>
          </a:p>
        </p:txBody>
      </p:sp>
    </p:spTree>
    <p:extLst>
      <p:ext uri="{BB962C8B-B14F-4D97-AF65-F5344CB8AC3E}">
        <p14:creationId xmlns:p14="http://schemas.microsoft.com/office/powerpoint/2010/main" val="414044304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70834" y="172043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lassholder for tekst 3">
            <a:extLst>
              <a:ext uri="{FF2B5EF4-FFF2-40B4-BE49-F238E27FC236}">
                <a16:creationId xmlns:a16="http://schemas.microsoft.com/office/drawing/2014/main" id="{AF60DBE5-2D0A-D5E1-8F03-65B309C05343}"/>
              </a:ext>
            </a:extLst>
          </p:cNvPr>
          <p:cNvSpPr txBox="1">
            <a:spLocks/>
          </p:cNvSpPr>
          <p:nvPr/>
        </p:nvSpPr>
        <p:spPr bwMode="auto">
          <a:xfrm>
            <a:off x="3791826" y="2105565"/>
            <a:ext cx="5692641" cy="3352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Bierstadt Display" panose="020B0504020202020204" pitchFamily="34" charset="0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Bierstadt" panose="020B0004020202020204" pitchFamily="34" charset="0"/>
                <a:ea typeface="+mn-ea"/>
                <a:cs typeface="+mn-cs"/>
              </a:rPr>
              <a:t>Det er vanlig å gjøre feil</a:t>
            </a:r>
          </a:p>
          <a:p>
            <a:pPr marL="457200" indent="-457200">
              <a:spcBef>
                <a:spcPts val="18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+mj-lt"/>
              <a:buAutoNum type="arabicPeriod"/>
              <a:defRPr/>
            </a:pPr>
            <a:r>
              <a:rPr lang="nb-NO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ierstadt" panose="020B0004020202020204" pitchFamily="34" charset="0"/>
              </a:rPr>
              <a:t>Skyld løser ingenting</a:t>
            </a:r>
          </a:p>
          <a:p>
            <a:pPr marL="457200" marR="0" lvl="0" indent="-457200" algn="l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ierstadt" panose="020B0004020202020204" pitchFamily="34" charset="0"/>
                <a:ea typeface="+mn-ea"/>
                <a:cs typeface="+mn-cs"/>
                <a:sym typeface="Arial"/>
              </a:rPr>
              <a:t>Omstendigheter former atferd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erstadt" panose="020B0004020202020204" pitchFamily="34" charset="0"/>
              <a:ea typeface="+mn-ea"/>
              <a:cs typeface="+mn-cs"/>
            </a:endParaRPr>
          </a:p>
          <a:p>
            <a:pPr marL="457200" marR="0" lvl="0" indent="-457200">
              <a:spcBef>
                <a:spcPts val="18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+mj-lt"/>
              <a:buAutoNum type="arabicPeriod"/>
              <a:tabLst/>
              <a:defRPr/>
            </a:pPr>
            <a:r>
              <a:rPr lang="nb-NO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ierstadt" panose="020B0004020202020204" pitchFamily="34" charset="0"/>
                <a:sym typeface="Arial"/>
              </a:rPr>
              <a:t>Læring er nøkkelen til forbedring</a:t>
            </a:r>
            <a:endParaRPr lang="nb-NO" sz="2400" dirty="0">
              <a:solidFill>
                <a:schemeClr val="tx1">
                  <a:lumMod val="75000"/>
                  <a:lumOff val="25000"/>
                </a:schemeClr>
              </a:solidFill>
              <a:latin typeface="Bierstadt" panose="020B0004020202020204" pitchFamily="34" charset="0"/>
            </a:endParaRPr>
          </a:p>
          <a:p>
            <a:pPr marL="457200" indent="-457200">
              <a:spcBef>
                <a:spcPts val="18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+mj-lt"/>
              <a:buAutoNum type="arabicPeriod"/>
              <a:defRPr/>
            </a:pPr>
            <a:r>
              <a:rPr lang="nb-NO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ierstadt" panose="020B0004020202020204" pitchFamily="34" charset="0"/>
                <a:sym typeface="Arial"/>
              </a:rPr>
              <a:t>Måten ledere responderer på betyr mye</a:t>
            </a:r>
            <a:endParaRPr lang="nb-NO" sz="2400" dirty="0">
              <a:solidFill>
                <a:schemeClr val="tx1">
                  <a:lumMod val="75000"/>
                  <a:lumOff val="25000"/>
                </a:schemeClr>
              </a:solidFill>
              <a:latin typeface="Bierstadt" panose="020B0004020202020204" pitchFamily="34" charset="0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erstadt Display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084007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70834" y="172043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lassholder for tekst 3">
            <a:extLst>
              <a:ext uri="{FF2B5EF4-FFF2-40B4-BE49-F238E27FC236}">
                <a16:creationId xmlns:a16="http://schemas.microsoft.com/office/drawing/2014/main" id="{AF60DBE5-2D0A-D5E1-8F03-65B309C05343}"/>
              </a:ext>
            </a:extLst>
          </p:cNvPr>
          <p:cNvSpPr txBox="1">
            <a:spLocks/>
          </p:cNvSpPr>
          <p:nvPr/>
        </p:nvSpPr>
        <p:spPr bwMode="auto">
          <a:xfrm>
            <a:off x="3791826" y="2105565"/>
            <a:ext cx="5692641" cy="3352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Bierstadt Display" panose="020B0504020202020204" pitchFamily="34" charset="0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Bierstadt" panose="020B0004020202020204" pitchFamily="34" charset="0"/>
                <a:ea typeface="+mn-ea"/>
                <a:cs typeface="+mn-cs"/>
              </a:rPr>
              <a:t>Det er vanlig å gjøre feil</a:t>
            </a:r>
          </a:p>
          <a:p>
            <a:pPr marL="457200" indent="-457200">
              <a:spcBef>
                <a:spcPts val="18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+mj-lt"/>
              <a:buAutoNum type="arabicPeriod"/>
              <a:defRPr/>
            </a:pPr>
            <a:r>
              <a:rPr lang="nb-NO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ierstadt" panose="020B0004020202020204" pitchFamily="34" charset="0"/>
              </a:rPr>
              <a:t>Skyld løser ingenting</a:t>
            </a:r>
          </a:p>
          <a:p>
            <a:pPr marL="457200" indent="-457200">
              <a:spcBef>
                <a:spcPts val="18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+mj-lt"/>
              <a:buAutoNum type="arabicPeriod"/>
              <a:defRPr/>
            </a:pPr>
            <a:r>
              <a:rPr lang="nb-NO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ierstadt" panose="020B0004020202020204" pitchFamily="34" charset="0"/>
                <a:sym typeface="Arial"/>
              </a:rPr>
              <a:t>Omstendigheter former atferd</a:t>
            </a:r>
            <a:endParaRPr lang="nb-NO" sz="2400" dirty="0">
              <a:solidFill>
                <a:schemeClr val="tx1">
                  <a:lumMod val="75000"/>
                  <a:lumOff val="25000"/>
                </a:schemeClr>
              </a:solidFill>
              <a:latin typeface="Bierstadt" panose="020B0004020202020204" pitchFamily="34" charset="0"/>
            </a:endParaRPr>
          </a:p>
          <a:p>
            <a:pPr marL="457200" marR="0" lvl="0" indent="-457200">
              <a:spcBef>
                <a:spcPts val="180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+mj-lt"/>
              <a:buAutoNum type="arabicPeriod"/>
              <a:tabLst/>
              <a:defRPr/>
            </a:pPr>
            <a:r>
              <a:rPr lang="nb-NO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Bierstadt" panose="020B0004020202020204" pitchFamily="34" charset="0"/>
                <a:sym typeface="Arial"/>
              </a:rPr>
              <a:t>Læring er nøkkelen til forbedring</a:t>
            </a:r>
            <a:endParaRPr lang="nb-NO" sz="2400" dirty="0">
              <a:solidFill>
                <a:schemeClr val="tx1">
                  <a:lumMod val="75000"/>
                  <a:lumOff val="25000"/>
                </a:schemeClr>
              </a:solidFill>
              <a:latin typeface="Bierstadt" panose="020B0004020202020204" pitchFamily="34" charset="0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ierstadt" panose="020B0004020202020204" pitchFamily="34" charset="0"/>
                <a:ea typeface="+mn-ea"/>
                <a:cs typeface="+mn-cs"/>
                <a:sym typeface="Arial"/>
              </a:rPr>
              <a:t>Måten ledere responderer på betyr mye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erstadt" panose="020B0004020202020204" pitchFamily="34" charset="0"/>
              <a:ea typeface="+mn-ea"/>
              <a:cs typeface="+mn-cs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erstadt Display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003277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70834" y="172043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278B3AAC-4DD1-4163-2381-260453D10695}"/>
              </a:ext>
            </a:extLst>
          </p:cNvPr>
          <p:cNvGrpSpPr/>
          <p:nvPr/>
        </p:nvGrpSpPr>
        <p:grpSpPr>
          <a:xfrm>
            <a:off x="1503082" y="661645"/>
            <a:ext cx="9185835" cy="5534710"/>
            <a:chOff x="1573210" y="545194"/>
            <a:chExt cx="9185835" cy="5534710"/>
          </a:xfrm>
        </p:grpSpPr>
        <p:graphicFrame>
          <p:nvGraphicFramePr>
            <p:cNvPr id="7" name="Diagram 6">
              <a:extLst>
                <a:ext uri="{FF2B5EF4-FFF2-40B4-BE49-F238E27FC236}">
                  <a16:creationId xmlns:a16="http://schemas.microsoft.com/office/drawing/2014/main" id="{EC2E2CEE-AE00-C94C-96EC-400C30C3DEC1}"/>
                </a:ext>
              </a:extLst>
            </p:cNvPr>
            <p:cNvGraphicFramePr/>
            <p:nvPr/>
          </p:nvGraphicFramePr>
          <p:xfrm>
            <a:off x="1573210" y="545194"/>
            <a:ext cx="9185835" cy="553471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10" name="Grafikk 9" descr="Hierarki med heldekkende fyll">
              <a:extLst>
                <a:ext uri="{FF2B5EF4-FFF2-40B4-BE49-F238E27FC236}">
                  <a16:creationId xmlns:a16="http://schemas.microsoft.com/office/drawing/2014/main" id="{27AA9969-E085-459B-6E7F-7A3DF8C80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08927" y="1688193"/>
              <a:ext cx="914400" cy="914400"/>
            </a:xfrm>
            <a:prstGeom prst="rect">
              <a:avLst/>
            </a:prstGeom>
          </p:spPr>
        </p:pic>
        <p:pic>
          <p:nvPicPr>
            <p:cNvPr id="11" name="Grafikk 10" descr="Åpen hånd med plante med heldekkende fyll">
              <a:extLst>
                <a:ext uri="{FF2B5EF4-FFF2-40B4-BE49-F238E27FC236}">
                  <a16:creationId xmlns:a16="http://schemas.microsoft.com/office/drawing/2014/main" id="{862544C5-D503-54BC-94D9-40AA6E7A3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708927" y="3367579"/>
              <a:ext cx="914400" cy="914400"/>
            </a:xfrm>
            <a:prstGeom prst="rect">
              <a:avLst/>
            </a:prstGeom>
          </p:spPr>
        </p:pic>
        <p:pic>
          <p:nvPicPr>
            <p:cNvPr id="12" name="Grafikk 11" descr="Skål med heldekkende fyll">
              <a:extLst>
                <a:ext uri="{FF2B5EF4-FFF2-40B4-BE49-F238E27FC236}">
                  <a16:creationId xmlns:a16="http://schemas.microsoft.com/office/drawing/2014/main" id="{A8922130-E3E4-2160-1CC8-90BEA4308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313422" y="4580804"/>
              <a:ext cx="914400" cy="914400"/>
            </a:xfrm>
            <a:prstGeom prst="rect">
              <a:avLst/>
            </a:prstGeom>
          </p:spPr>
        </p:pic>
      </p:grpSp>
      <p:pic>
        <p:nvPicPr>
          <p:cNvPr id="17" name="Grafikk 16" descr="psykisk helse med heldekkende fyll">
            <a:extLst>
              <a:ext uri="{FF2B5EF4-FFF2-40B4-BE49-F238E27FC236}">
                <a16:creationId xmlns:a16="http://schemas.microsoft.com/office/drawing/2014/main" id="{97D77727-C25F-C16F-F4A8-FB764B1E689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34308" y="469725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312802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70834" y="172043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lassholder for tekst 3">
            <a:extLst>
              <a:ext uri="{FF2B5EF4-FFF2-40B4-BE49-F238E27FC236}">
                <a16:creationId xmlns:a16="http://schemas.microsoft.com/office/drawing/2014/main" id="{A2841A35-B845-8595-C51F-3FD50A976AFA}"/>
              </a:ext>
            </a:extLst>
          </p:cNvPr>
          <p:cNvSpPr txBox="1">
            <a:spLocks/>
          </p:cNvSpPr>
          <p:nvPr/>
        </p:nvSpPr>
        <p:spPr bwMode="auto">
          <a:xfrm>
            <a:off x="1036805" y="2958603"/>
            <a:ext cx="9873575" cy="817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Bierstadt Display" panose="020B0504020202020204" pitchFamily="34" charset="0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tabLst/>
              <a:defRPr/>
            </a:pPr>
            <a:r>
              <a:rPr lang="nb-NO" sz="3200" i="1" dirty="0">
                <a:solidFill>
                  <a:schemeClr val="accent1"/>
                </a:solidFill>
                <a:latin typeface="Bierstadt" panose="020B0004020202020204" pitchFamily="34" charset="0"/>
              </a:rPr>
              <a:t>Den laveste standarden jeg er villig til å akseptere, er den høyeste standarden jeg kan forvente å få!</a:t>
            </a:r>
            <a:endParaRPr kumimoji="0" lang="nb-NO" sz="3200" b="0" i="1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erstadt" panose="020B0004020202020204" pitchFamily="34" charset="0"/>
            </a:endParaRPr>
          </a:p>
          <a:p>
            <a:pPr marL="457200" marR="0" lvl="0" indent="-457200" algn="ctr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endParaRPr kumimoji="0" lang="nb-NO" sz="3200" b="0" i="1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695819195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70834" y="172043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lassholder for tekst 3">
            <a:extLst>
              <a:ext uri="{FF2B5EF4-FFF2-40B4-BE49-F238E27FC236}">
                <a16:creationId xmlns:a16="http://schemas.microsoft.com/office/drawing/2014/main" id="{A2841A35-B845-8595-C51F-3FD50A976AFA}"/>
              </a:ext>
            </a:extLst>
          </p:cNvPr>
          <p:cNvSpPr txBox="1">
            <a:spLocks/>
          </p:cNvSpPr>
          <p:nvPr/>
        </p:nvSpPr>
        <p:spPr bwMode="auto">
          <a:xfrm>
            <a:off x="1062931" y="4774340"/>
            <a:ext cx="9873575" cy="817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Bierstadt Display" panose="020B0504020202020204" pitchFamily="34" charset="0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ctr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tabLst/>
              <a:defRPr/>
            </a:pPr>
            <a:r>
              <a:rPr lang="nb-NO" sz="25000" dirty="0">
                <a:solidFill>
                  <a:schemeClr val="accent1"/>
                </a:solidFill>
                <a:latin typeface="Bierstadt" panose="020B0004020202020204" pitchFamily="34" charset="0"/>
              </a:rPr>
              <a:t>0</a:t>
            </a:r>
            <a:endParaRPr kumimoji="0" lang="nb-NO" sz="25000" b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erstadt" panose="020B0004020202020204" pitchFamily="34" charset="0"/>
            </a:endParaRPr>
          </a:p>
          <a:p>
            <a:pPr marL="457200" marR="0" lvl="0" indent="-457200" algn="ctr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endParaRPr kumimoji="0" lang="nb-NO" sz="20800" b="0" i="1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0060315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70834" y="172043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" name="Rett linje 2">
            <a:extLst>
              <a:ext uri="{FF2B5EF4-FFF2-40B4-BE49-F238E27FC236}">
                <a16:creationId xmlns:a16="http://schemas.microsoft.com/office/drawing/2014/main" id="{ECD626CD-256D-7F23-3F7B-A1B97CACBF2F}"/>
              </a:ext>
            </a:extLst>
          </p:cNvPr>
          <p:cNvCxnSpPr/>
          <p:nvPr/>
        </p:nvCxnSpPr>
        <p:spPr>
          <a:xfrm>
            <a:off x="1426723" y="3452955"/>
            <a:ext cx="9338553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Likebent trekant 3">
            <a:extLst>
              <a:ext uri="{FF2B5EF4-FFF2-40B4-BE49-F238E27FC236}">
                <a16:creationId xmlns:a16="http://schemas.microsoft.com/office/drawing/2014/main" id="{988C4804-D4D1-879E-FD2D-05CA121490D8}"/>
              </a:ext>
            </a:extLst>
          </p:cNvPr>
          <p:cNvSpPr/>
          <p:nvPr/>
        </p:nvSpPr>
        <p:spPr>
          <a:xfrm rot="10800000">
            <a:off x="5403712" y="3084036"/>
            <a:ext cx="359923" cy="321009"/>
          </a:xfrm>
          <a:prstGeom prst="triangl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F03C1E6B-ECC4-3D0C-ACBD-D8E6A4CC3CCE}"/>
              </a:ext>
            </a:extLst>
          </p:cNvPr>
          <p:cNvSpPr txBox="1"/>
          <p:nvPr/>
        </p:nvSpPr>
        <p:spPr>
          <a:xfrm>
            <a:off x="1134892" y="3496727"/>
            <a:ext cx="5836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200" dirty="0">
                <a:solidFill>
                  <a:schemeClr val="accent1"/>
                </a:solidFill>
                <a:latin typeface="Bierstadt Display" panose="020B0004020202020204" pitchFamily="34" charset="0"/>
              </a:rPr>
              <a:t>0</a:t>
            </a:r>
            <a:endParaRPr lang="en-US" sz="3200" dirty="0">
              <a:solidFill>
                <a:schemeClr val="accent1"/>
              </a:solidFill>
              <a:latin typeface="Bierstadt Display" panose="020B0004020202020204" pitchFamily="34" charset="0"/>
            </a:endParaRP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3FE056C3-174C-30D6-7C32-91E3D80A597E}"/>
              </a:ext>
            </a:extLst>
          </p:cNvPr>
          <p:cNvSpPr txBox="1"/>
          <p:nvPr/>
        </p:nvSpPr>
        <p:spPr>
          <a:xfrm>
            <a:off x="10393192" y="3496727"/>
            <a:ext cx="6825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200" dirty="0">
                <a:solidFill>
                  <a:schemeClr val="accent1"/>
                </a:solidFill>
                <a:latin typeface="Bierstadt Display" panose="020B0004020202020204" pitchFamily="34" charset="0"/>
              </a:rPr>
              <a:t>10</a:t>
            </a:r>
            <a:endParaRPr lang="en-US" sz="3200" dirty="0">
              <a:solidFill>
                <a:schemeClr val="accent1"/>
              </a:solidFill>
              <a:latin typeface="Bierstadt Display" panose="020B0004020202020204" pitchFamily="34" charset="0"/>
            </a:endParaRP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4AB140EC-B891-759D-1AE1-EDACC56FCC7A}"/>
              </a:ext>
            </a:extLst>
          </p:cNvPr>
          <p:cNvSpPr txBox="1"/>
          <p:nvPr/>
        </p:nvSpPr>
        <p:spPr>
          <a:xfrm>
            <a:off x="8037477" y="2911952"/>
            <a:ext cx="5836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3200" dirty="0">
                <a:solidFill>
                  <a:schemeClr val="accent1"/>
                </a:solidFill>
                <a:latin typeface="Bierstadt Display" panose="020B0004020202020204" pitchFamily="34" charset="0"/>
              </a:rPr>
              <a:t>?</a:t>
            </a:r>
            <a:endParaRPr lang="en-US" sz="3200" dirty="0">
              <a:solidFill>
                <a:schemeClr val="accent1"/>
              </a:solidFill>
              <a:latin typeface="Bierstadt Display" panose="020B0004020202020204" pitchFamily="34" charset="0"/>
            </a:endParaRPr>
          </a:p>
        </p:txBody>
      </p:sp>
      <p:grpSp>
        <p:nvGrpSpPr>
          <p:cNvPr id="5" name="Gruppe 4">
            <a:extLst>
              <a:ext uri="{FF2B5EF4-FFF2-40B4-BE49-F238E27FC236}">
                <a16:creationId xmlns:a16="http://schemas.microsoft.com/office/drawing/2014/main" id="{274E9E97-FAA6-B8E5-CD4F-DBB49B31BF93}"/>
              </a:ext>
            </a:extLst>
          </p:cNvPr>
          <p:cNvGrpSpPr/>
          <p:nvPr/>
        </p:nvGrpSpPr>
        <p:grpSpPr>
          <a:xfrm>
            <a:off x="5089995" y="2489914"/>
            <a:ext cx="5406149" cy="2013626"/>
            <a:chOff x="5089995" y="2489914"/>
            <a:chExt cx="5406149" cy="2013626"/>
          </a:xfrm>
        </p:grpSpPr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2A1821AA-F48E-3FE7-5115-E812B1D59A05}"/>
                </a:ext>
              </a:extLst>
            </p:cNvPr>
            <p:cNvSpPr/>
            <p:nvPr/>
          </p:nvSpPr>
          <p:spPr>
            <a:xfrm>
              <a:off x="6095999" y="2489914"/>
              <a:ext cx="4400145" cy="2013626"/>
            </a:xfrm>
            <a:prstGeom prst="rect">
              <a:avLst/>
            </a:prstGeom>
            <a:solidFill>
              <a:schemeClr val="tx2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" name="TekstSylinder 1">
              <a:extLst>
                <a:ext uri="{FF2B5EF4-FFF2-40B4-BE49-F238E27FC236}">
                  <a16:creationId xmlns:a16="http://schemas.microsoft.com/office/drawing/2014/main" id="{00BA5A74-9F6D-23F9-1C92-32D090F3E6D9}"/>
                </a:ext>
              </a:extLst>
            </p:cNvPr>
            <p:cNvSpPr txBox="1"/>
            <p:nvPr/>
          </p:nvSpPr>
          <p:spPr>
            <a:xfrm>
              <a:off x="5089995" y="3496727"/>
              <a:ext cx="98735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3200" dirty="0">
                  <a:solidFill>
                    <a:schemeClr val="accent1"/>
                  </a:solidFill>
                  <a:latin typeface="Bierstadt Display" panose="020B0004020202020204" pitchFamily="34" charset="0"/>
                </a:rPr>
                <a:t>«10»</a:t>
              </a:r>
              <a:endParaRPr lang="en-US" sz="3200" dirty="0">
                <a:solidFill>
                  <a:schemeClr val="accent1"/>
                </a:solidFill>
                <a:latin typeface="Bierstadt Display" panose="020B00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088195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4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5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6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7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8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29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0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1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  <p:bldP spid="9" grpId="0"/>
      <p:bldP spid="1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70834" y="172043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278B3AAC-4DD1-4163-2381-260453D10695}"/>
              </a:ext>
            </a:extLst>
          </p:cNvPr>
          <p:cNvGrpSpPr/>
          <p:nvPr/>
        </p:nvGrpSpPr>
        <p:grpSpPr>
          <a:xfrm>
            <a:off x="1503082" y="661645"/>
            <a:ext cx="9185835" cy="5534710"/>
            <a:chOff x="1573210" y="545194"/>
            <a:chExt cx="9185835" cy="5534710"/>
          </a:xfrm>
        </p:grpSpPr>
        <p:graphicFrame>
          <p:nvGraphicFramePr>
            <p:cNvPr id="7" name="Diagram 6">
              <a:extLst>
                <a:ext uri="{FF2B5EF4-FFF2-40B4-BE49-F238E27FC236}">
                  <a16:creationId xmlns:a16="http://schemas.microsoft.com/office/drawing/2014/main" id="{EC2E2CEE-AE00-C94C-96EC-400C30C3DEC1}"/>
                </a:ext>
              </a:extLst>
            </p:cNvPr>
            <p:cNvGraphicFramePr/>
            <p:nvPr/>
          </p:nvGraphicFramePr>
          <p:xfrm>
            <a:off x="1573210" y="545194"/>
            <a:ext cx="9185835" cy="553471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10" name="Grafikk 9" descr="Hierarki med heldekkende fyll">
              <a:extLst>
                <a:ext uri="{FF2B5EF4-FFF2-40B4-BE49-F238E27FC236}">
                  <a16:creationId xmlns:a16="http://schemas.microsoft.com/office/drawing/2014/main" id="{27AA9969-E085-459B-6E7F-7A3DF8C80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08927" y="1688193"/>
              <a:ext cx="914400" cy="914400"/>
            </a:xfrm>
            <a:prstGeom prst="rect">
              <a:avLst/>
            </a:prstGeom>
          </p:spPr>
        </p:pic>
        <p:pic>
          <p:nvPicPr>
            <p:cNvPr id="11" name="Grafikk 10" descr="Åpen hånd med plante med heldekkende fyll">
              <a:extLst>
                <a:ext uri="{FF2B5EF4-FFF2-40B4-BE49-F238E27FC236}">
                  <a16:creationId xmlns:a16="http://schemas.microsoft.com/office/drawing/2014/main" id="{862544C5-D503-54BC-94D9-40AA6E7A3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708927" y="3367579"/>
              <a:ext cx="914400" cy="914400"/>
            </a:xfrm>
            <a:prstGeom prst="rect">
              <a:avLst/>
            </a:prstGeom>
          </p:spPr>
        </p:pic>
        <p:pic>
          <p:nvPicPr>
            <p:cNvPr id="12" name="Grafikk 11" descr="Skål med heldekkende fyll">
              <a:extLst>
                <a:ext uri="{FF2B5EF4-FFF2-40B4-BE49-F238E27FC236}">
                  <a16:creationId xmlns:a16="http://schemas.microsoft.com/office/drawing/2014/main" id="{A8922130-E3E4-2160-1CC8-90BEA4308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313422" y="4580804"/>
              <a:ext cx="914400" cy="914400"/>
            </a:xfrm>
            <a:prstGeom prst="rect">
              <a:avLst/>
            </a:prstGeom>
          </p:spPr>
        </p:pic>
      </p:grpSp>
      <p:pic>
        <p:nvPicPr>
          <p:cNvPr id="17" name="Grafikk 16" descr="psykisk helse med heldekkende fyll">
            <a:extLst>
              <a:ext uri="{FF2B5EF4-FFF2-40B4-BE49-F238E27FC236}">
                <a16:creationId xmlns:a16="http://schemas.microsoft.com/office/drawing/2014/main" id="{97D77727-C25F-C16F-F4A8-FB764B1E689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34308" y="469725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507345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2340265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23E2BE8-0719-47CE-B559-BE7A1BFBD2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23E2BE8-0719-47CE-B559-BE7A1BFBD2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5" name="Plassholder for bilde 2">
            <a:extLst>
              <a:ext uri="{FF2B5EF4-FFF2-40B4-BE49-F238E27FC236}">
                <a16:creationId xmlns:a16="http://schemas.microsoft.com/office/drawing/2014/main" id="{750D5ED9-DF75-4FDB-9E62-C5CB3AF565F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298679" cy="6917331"/>
          </a:xfrm>
          <a:prstGeom prst="rect">
            <a:avLst/>
          </a:prstGeom>
        </p:spPr>
      </p:pic>
      <p:sp>
        <p:nvSpPr>
          <p:cNvPr id="34" name="Rektangel 33">
            <a:extLst>
              <a:ext uri="{FF2B5EF4-FFF2-40B4-BE49-F238E27FC236}">
                <a16:creationId xmlns:a16="http://schemas.microsoft.com/office/drawing/2014/main" id="{D9021F8E-CE45-4309-B97F-E02852E90F9D}"/>
              </a:ext>
            </a:extLst>
          </p:cNvPr>
          <p:cNvSpPr/>
          <p:nvPr/>
        </p:nvSpPr>
        <p:spPr>
          <a:xfrm>
            <a:off x="-82850" y="-49174"/>
            <a:ext cx="12573000" cy="6956347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b-NO">
              <a:solidFill>
                <a:schemeClr val="accent1"/>
              </a:solidFill>
              <a:ea typeface="MS PGothic" charset="0"/>
              <a:cs typeface="MS PGothic" charset="0"/>
            </a:endParaRPr>
          </a:p>
        </p:txBody>
      </p:sp>
      <p:pic>
        <p:nvPicPr>
          <p:cNvPr id="82945" name="Bilde 45">
            <a:extLst>
              <a:ext uri="{FF2B5EF4-FFF2-40B4-BE49-F238E27FC236}">
                <a16:creationId xmlns:a16="http://schemas.microsoft.com/office/drawing/2014/main" id="{D0C35C8E-E688-4236-B9FC-2BA8AE8F03C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686" y="3383761"/>
            <a:ext cx="4440598" cy="2631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kon_familie.png">
            <a:extLst>
              <a:ext uri="{FF2B5EF4-FFF2-40B4-BE49-F238E27FC236}">
                <a16:creationId xmlns:a16="http://schemas.microsoft.com/office/drawing/2014/main" id="{B930FF46-3B10-405E-96D9-0062116CDA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5478" y="1790860"/>
            <a:ext cx="2220299" cy="1332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6" name="Shape 285">
            <a:extLst>
              <a:ext uri="{FF2B5EF4-FFF2-40B4-BE49-F238E27FC236}">
                <a16:creationId xmlns:a16="http://schemas.microsoft.com/office/drawing/2014/main" id="{DA7D4D25-9FEF-45DB-A026-106D3C2545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8463327" y="427350"/>
            <a:ext cx="2883793" cy="1025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50795" tIns="50795" rIns="50795" bIns="50795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5999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Helvetica" panose="020B0604020202020204" pitchFamily="34" charset="0"/>
              </a:rPr>
              <a:t>165 000</a:t>
            </a:r>
          </a:p>
        </p:txBody>
      </p:sp>
      <p:sp>
        <p:nvSpPr>
          <p:cNvPr id="7" name="Shape 286">
            <a:extLst>
              <a:ext uri="{FF2B5EF4-FFF2-40B4-BE49-F238E27FC236}">
                <a16:creationId xmlns:a16="http://schemas.microsoft.com/office/drawing/2014/main" id="{D04BA510-B2B2-450E-89B2-84C34A9194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69074" y="1922033"/>
            <a:ext cx="1386588" cy="1025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50795" tIns="50795" rIns="50795" bIns="50795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5999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Helvetica" panose="020B0604020202020204" pitchFamily="34" charset="0"/>
              </a:rPr>
              <a:t>360</a:t>
            </a:r>
          </a:p>
        </p:txBody>
      </p:sp>
      <p:sp>
        <p:nvSpPr>
          <p:cNvPr id="8" name="Shape 287">
            <a:extLst>
              <a:ext uri="{FF2B5EF4-FFF2-40B4-BE49-F238E27FC236}">
                <a16:creationId xmlns:a16="http://schemas.microsoft.com/office/drawing/2014/main" id="{EDD50FD0-44D0-433E-9919-1806CB8F15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35743" y="2814577"/>
            <a:ext cx="2090533" cy="313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795" tIns="50795" rIns="50795" bIns="50795" anchor="ctr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6096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35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Helvetica" panose="020B0604020202020204" pitchFamily="34" charset="0"/>
              </a:rPr>
              <a:t>ansatte</a:t>
            </a:r>
          </a:p>
        </p:txBody>
      </p:sp>
      <p:sp>
        <p:nvSpPr>
          <p:cNvPr id="9" name="Shape 288">
            <a:extLst>
              <a:ext uri="{FF2B5EF4-FFF2-40B4-BE49-F238E27FC236}">
                <a16:creationId xmlns:a16="http://schemas.microsoft.com/office/drawing/2014/main" id="{CE2E6B16-D4FC-4749-8BE5-267D37F9A8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90437" y="1299603"/>
            <a:ext cx="631573" cy="328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6096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35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Helvetica" panose="020B0604020202020204" pitchFamily="34" charset="0"/>
              </a:rPr>
              <a:t>kunder</a:t>
            </a:r>
          </a:p>
        </p:txBody>
      </p: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40FC72A7-ED50-4EF5-8D27-4AD171AA4607}"/>
              </a:ext>
            </a:extLst>
          </p:cNvPr>
          <p:cNvGrpSpPr>
            <a:grpSpLocks/>
          </p:cNvGrpSpPr>
          <p:nvPr/>
        </p:nvGrpSpPr>
        <p:grpSpPr bwMode="auto">
          <a:xfrm>
            <a:off x="977408" y="603923"/>
            <a:ext cx="2788171" cy="2717931"/>
            <a:chOff x="2990022" y="603006"/>
            <a:chExt cx="3718214" cy="3623955"/>
          </a:xfrm>
        </p:grpSpPr>
        <p:pic>
          <p:nvPicPr>
            <p:cNvPr id="66585" name="ikon_dame.png">
              <a:extLst>
                <a:ext uri="{FF2B5EF4-FFF2-40B4-BE49-F238E27FC236}">
                  <a16:creationId xmlns:a16="http://schemas.microsoft.com/office/drawing/2014/main" id="{3805EFE7-18D9-4B9C-83EE-0F2942DC486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0022" y="603006"/>
              <a:ext cx="713213" cy="1901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</p:pic>
        <p:pic>
          <p:nvPicPr>
            <p:cNvPr id="66586" name="ikon_mann.png">
              <a:extLst>
                <a:ext uri="{FF2B5EF4-FFF2-40B4-BE49-F238E27FC236}">
                  <a16:creationId xmlns:a16="http://schemas.microsoft.com/office/drawing/2014/main" id="{6E369EB9-B986-4D73-A131-7F7EB58489F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41272" y="603006"/>
              <a:ext cx="713213" cy="1901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</p:pic>
        <p:pic>
          <p:nvPicPr>
            <p:cNvPr id="66587" name="ikon_dame.png">
              <a:extLst>
                <a:ext uri="{FF2B5EF4-FFF2-40B4-BE49-F238E27FC236}">
                  <a16:creationId xmlns:a16="http://schemas.microsoft.com/office/drawing/2014/main" id="{FAC917AC-8A3F-42EF-9D8E-495F3D88C4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523" y="603006"/>
              <a:ext cx="713213" cy="1901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</p:pic>
        <p:pic>
          <p:nvPicPr>
            <p:cNvPr id="66588" name="ikon_mann.png">
              <a:extLst>
                <a:ext uri="{FF2B5EF4-FFF2-40B4-BE49-F238E27FC236}">
                  <a16:creationId xmlns:a16="http://schemas.microsoft.com/office/drawing/2014/main" id="{4714D9F8-A21C-4F29-8B13-EC191119E40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3773" y="603006"/>
              <a:ext cx="713213" cy="1901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</p:pic>
        <p:pic>
          <p:nvPicPr>
            <p:cNvPr id="66589" name="ikon_dame.png">
              <a:extLst>
                <a:ext uri="{FF2B5EF4-FFF2-40B4-BE49-F238E27FC236}">
                  <a16:creationId xmlns:a16="http://schemas.microsoft.com/office/drawing/2014/main" id="{72E9E826-3ED9-4774-9EF4-A55D8822CBB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5023" y="603006"/>
              <a:ext cx="713213" cy="1901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</p:pic>
        <p:pic>
          <p:nvPicPr>
            <p:cNvPr id="66590" name="ikon_dame.png">
              <a:extLst>
                <a:ext uri="{FF2B5EF4-FFF2-40B4-BE49-F238E27FC236}">
                  <a16:creationId xmlns:a16="http://schemas.microsoft.com/office/drawing/2014/main" id="{CDD0FAEB-A342-4297-94ED-DD2B1BC0F1A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3773" y="2325061"/>
              <a:ext cx="713213" cy="1901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</p:pic>
        <p:pic>
          <p:nvPicPr>
            <p:cNvPr id="66591" name="ikon_mann.png">
              <a:extLst>
                <a:ext uri="{FF2B5EF4-FFF2-40B4-BE49-F238E27FC236}">
                  <a16:creationId xmlns:a16="http://schemas.microsoft.com/office/drawing/2014/main" id="{455B9468-A99D-4D05-A652-CBE923AB7D7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5023" y="2325061"/>
              <a:ext cx="713213" cy="1901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400000"/>
                  <a:headEnd/>
                  <a:tailEnd/>
                </a14:hiddenLine>
              </a:ext>
            </a:extLst>
          </p:spPr>
        </p:pic>
      </p:grpSp>
      <p:grpSp>
        <p:nvGrpSpPr>
          <p:cNvPr id="28" name="Gruppe 27">
            <a:extLst>
              <a:ext uri="{FF2B5EF4-FFF2-40B4-BE49-F238E27FC236}">
                <a16:creationId xmlns:a16="http://schemas.microsoft.com/office/drawing/2014/main" id="{90550B97-A096-4DA2-8EE3-C9DA4CAE0504}"/>
              </a:ext>
            </a:extLst>
          </p:cNvPr>
          <p:cNvGrpSpPr>
            <a:grpSpLocks/>
          </p:cNvGrpSpPr>
          <p:nvPr/>
        </p:nvGrpSpPr>
        <p:grpSpPr bwMode="auto">
          <a:xfrm>
            <a:off x="690009" y="427350"/>
            <a:ext cx="10755056" cy="5708490"/>
            <a:chOff x="960438" y="730909"/>
            <a:chExt cx="14341475" cy="7610376"/>
          </a:xfrm>
        </p:grpSpPr>
        <p:sp>
          <p:nvSpPr>
            <p:cNvPr id="66581" name="Shape 298">
              <a:extLst>
                <a:ext uri="{FF2B5EF4-FFF2-40B4-BE49-F238E27FC236}">
                  <a16:creationId xmlns:a16="http://schemas.microsoft.com/office/drawing/2014/main" id="{19EE2818-7E72-4A00-88AF-A82C446373B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60438" y="4533731"/>
              <a:ext cx="14341475" cy="9694"/>
            </a:xfrm>
            <a:prstGeom prst="line">
              <a:avLst/>
            </a:prstGeom>
            <a:noFill/>
            <a:ln w="12700">
              <a:solidFill>
                <a:srgbClr val="A6AAA9"/>
              </a:solidFill>
              <a:miter lim="4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50795" tIns="50795" rIns="50795" bIns="5079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582" name="Shape 299">
              <a:extLst>
                <a:ext uri="{FF2B5EF4-FFF2-40B4-BE49-F238E27FC236}">
                  <a16:creationId xmlns:a16="http://schemas.microsoft.com/office/drawing/2014/main" id="{DECC8C8A-E6CC-4B63-AC30-99E7974AE0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8121855" y="4528770"/>
              <a:ext cx="13879" cy="3812515"/>
            </a:xfrm>
            <a:prstGeom prst="line">
              <a:avLst/>
            </a:prstGeom>
            <a:noFill/>
            <a:ln w="12700">
              <a:solidFill>
                <a:srgbClr val="A6AAA9"/>
              </a:solidFill>
              <a:miter lim="4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50795" tIns="50795" rIns="50795" bIns="5079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583" name="Shape 299">
              <a:extLst>
                <a:ext uri="{FF2B5EF4-FFF2-40B4-BE49-F238E27FC236}">
                  <a16:creationId xmlns:a16="http://schemas.microsoft.com/office/drawing/2014/main" id="{4C4D2476-C764-4080-B5BD-A3A98AC0A51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471904" y="730909"/>
              <a:ext cx="13879" cy="3812515"/>
            </a:xfrm>
            <a:prstGeom prst="line">
              <a:avLst/>
            </a:prstGeom>
            <a:noFill/>
            <a:ln w="12700">
              <a:solidFill>
                <a:srgbClr val="A6AAA9"/>
              </a:solidFill>
              <a:miter lim="4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50795" tIns="50795" rIns="50795" bIns="5079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584" name="Shape 299">
              <a:extLst>
                <a:ext uri="{FF2B5EF4-FFF2-40B4-BE49-F238E27FC236}">
                  <a16:creationId xmlns:a16="http://schemas.microsoft.com/office/drawing/2014/main" id="{6F19B593-4F7C-407F-B103-151A1B4397B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757927" y="730909"/>
              <a:ext cx="13879" cy="3812515"/>
            </a:xfrm>
            <a:prstGeom prst="line">
              <a:avLst/>
            </a:prstGeom>
            <a:noFill/>
            <a:ln w="12700">
              <a:solidFill>
                <a:srgbClr val="A6AAA9"/>
              </a:solidFill>
              <a:miter lim="4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lIns="50795" tIns="50795" rIns="50795" bIns="50795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82956" name="Bilde 36">
            <a:extLst>
              <a:ext uri="{FF2B5EF4-FFF2-40B4-BE49-F238E27FC236}">
                <a16:creationId xmlns:a16="http://schemas.microsoft.com/office/drawing/2014/main" id="{8A93B66A-DC15-462D-9AF5-F503483A417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8036" y="4051637"/>
            <a:ext cx="2007198" cy="1963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Shape 285">
            <a:extLst>
              <a:ext uri="{FF2B5EF4-FFF2-40B4-BE49-F238E27FC236}">
                <a16:creationId xmlns:a16="http://schemas.microsoft.com/office/drawing/2014/main" id="{6B63A659-A285-49EB-92C6-2581B7A1AF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83579" y="3673272"/>
            <a:ext cx="958586" cy="1025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50795" tIns="50795" rIns="50795" bIns="50795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5999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Helvetica" panose="020B0604020202020204" pitchFamily="34" charset="0"/>
              </a:rPr>
              <a:t>57</a:t>
            </a:r>
          </a:p>
        </p:txBody>
      </p:sp>
      <p:sp>
        <p:nvSpPr>
          <p:cNvPr id="39" name="Shape 288">
            <a:extLst>
              <a:ext uri="{FF2B5EF4-FFF2-40B4-BE49-F238E27FC236}">
                <a16:creationId xmlns:a16="http://schemas.microsoft.com/office/drawing/2014/main" id="{0DD7716C-98E9-4AE5-B4B4-811262D971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014311" y="4545525"/>
            <a:ext cx="1833826" cy="328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6096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35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Helvetica" panose="020B0604020202020204" pitchFamily="34" charset="0"/>
              </a:rPr>
              <a:t>transformatorstasjoner</a:t>
            </a:r>
          </a:p>
        </p:txBody>
      </p:sp>
      <p:sp>
        <p:nvSpPr>
          <p:cNvPr id="40" name="Shape 285">
            <a:extLst>
              <a:ext uri="{FF2B5EF4-FFF2-40B4-BE49-F238E27FC236}">
                <a16:creationId xmlns:a16="http://schemas.microsoft.com/office/drawing/2014/main" id="{B93BDF38-6904-4712-90BF-99D13BDC10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95484" y="4857233"/>
            <a:ext cx="2027789" cy="1025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50795" tIns="50795" rIns="50795" bIns="50795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5999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Helvetica" panose="020B0604020202020204" pitchFamily="34" charset="0"/>
              </a:rPr>
              <a:t>4 044</a:t>
            </a:r>
          </a:p>
        </p:txBody>
      </p:sp>
      <p:sp>
        <p:nvSpPr>
          <p:cNvPr id="41" name="Shape 288">
            <a:extLst>
              <a:ext uri="{FF2B5EF4-FFF2-40B4-BE49-F238E27FC236}">
                <a16:creationId xmlns:a16="http://schemas.microsoft.com/office/drawing/2014/main" id="{7AB6BAC9-F660-42E0-9557-65FE194B6D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997689" y="5729486"/>
            <a:ext cx="1093239" cy="328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50795" tIns="50795" rIns="50795" bIns="50795" anchor="ctr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6096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35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Helvetica" panose="020B0604020202020204" pitchFamily="34" charset="0"/>
              </a:rPr>
              <a:t>nettstasjoner</a:t>
            </a:r>
          </a:p>
        </p:txBody>
      </p:sp>
      <p:sp>
        <p:nvSpPr>
          <p:cNvPr id="42" name="Shape 286">
            <a:extLst>
              <a:ext uri="{FF2B5EF4-FFF2-40B4-BE49-F238E27FC236}">
                <a16:creationId xmlns:a16="http://schemas.microsoft.com/office/drawing/2014/main" id="{53715816-32C1-4895-9481-CA579C9E2D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1049" y="3678034"/>
            <a:ext cx="2027789" cy="1025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50795" tIns="50795" rIns="50795" bIns="50795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5999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Helvetica" panose="020B0604020202020204" pitchFamily="34" charset="0"/>
              </a:rPr>
              <a:t>1 350</a:t>
            </a:r>
          </a:p>
        </p:txBody>
      </p:sp>
      <p:sp>
        <p:nvSpPr>
          <p:cNvPr id="43" name="Shape 287">
            <a:extLst>
              <a:ext uri="{FF2B5EF4-FFF2-40B4-BE49-F238E27FC236}">
                <a16:creationId xmlns:a16="http://schemas.microsoft.com/office/drawing/2014/main" id="{B7B2B8C9-C01F-40C0-A237-F074327DE7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7717" y="4645579"/>
            <a:ext cx="2090533" cy="313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795" tIns="50795" rIns="50795" bIns="50795" anchor="ctr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6096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35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Helvetica" panose="020B0604020202020204" pitchFamily="34" charset="0"/>
              </a:rPr>
              <a:t>MW </a:t>
            </a:r>
            <a:r>
              <a:rPr kumimoji="0" lang="nb-NO" altLang="nb-NO" sz="1350" b="0" i="0" u="none" strike="noStrike" kern="1200" cap="none" spc="0" normalizeH="0" baseline="0" noProof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Helvetica" panose="020B0604020202020204" pitchFamily="34" charset="0"/>
              </a:rPr>
              <a:t>feb</a:t>
            </a:r>
            <a:r>
              <a:rPr kumimoji="0" lang="nb-NO" altLang="nb-NO" sz="135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Helvetica" panose="020B0604020202020204" pitchFamily="34" charset="0"/>
              </a:rPr>
              <a:t> 2022</a:t>
            </a:r>
          </a:p>
        </p:txBody>
      </p:sp>
      <p:sp>
        <p:nvSpPr>
          <p:cNvPr id="44" name="Shape 287">
            <a:extLst>
              <a:ext uri="{FF2B5EF4-FFF2-40B4-BE49-F238E27FC236}">
                <a16:creationId xmlns:a16="http://schemas.microsoft.com/office/drawing/2014/main" id="{F5014C66-F46F-499F-B766-302CB3A285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97717" y="4850347"/>
            <a:ext cx="2090533" cy="313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50795" tIns="50795" rIns="50795" bIns="50795" anchor="ctr">
            <a:spAutoFit/>
          </a:bodyPr>
          <a:lstStyle>
            <a:lvl1pPr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609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609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6096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35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  <a:sym typeface="Helvetica" panose="020B0604020202020204" pitchFamily="34" charset="0"/>
              </a:rPr>
              <a:t>Maks overført effekt:</a:t>
            </a:r>
          </a:p>
        </p:txBody>
      </p:sp>
      <p:sp>
        <p:nvSpPr>
          <p:cNvPr id="3" name="Sekskant 2">
            <a:extLst>
              <a:ext uri="{FF2B5EF4-FFF2-40B4-BE49-F238E27FC236}">
                <a16:creationId xmlns:a16="http://schemas.microsoft.com/office/drawing/2014/main" id="{E4741A11-3CBA-4407-B447-AD6B3E5AAE47}"/>
              </a:ext>
            </a:extLst>
          </p:cNvPr>
          <p:cNvSpPr/>
          <p:nvPr/>
        </p:nvSpPr>
        <p:spPr>
          <a:xfrm>
            <a:off x="4564470" y="315728"/>
            <a:ext cx="3006134" cy="2586370"/>
          </a:xfrm>
          <a:prstGeom prst="hexagon">
            <a:avLst/>
          </a:prstGeom>
          <a:solidFill>
            <a:srgbClr val="0D0D0D">
              <a:alpha val="60000"/>
            </a:srgbClr>
          </a:solidFill>
          <a:ln>
            <a:solidFill>
              <a:srgbClr val="000000">
                <a:alpha val="80000"/>
              </a:srgb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A320351A-1D72-4914-9C33-00909250B65F}"/>
              </a:ext>
            </a:extLst>
          </p:cNvPr>
          <p:cNvSpPr/>
          <p:nvPr/>
        </p:nvSpPr>
        <p:spPr>
          <a:xfrm>
            <a:off x="5055266" y="824077"/>
            <a:ext cx="207194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60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ierstadt Display" panose="020B0504020202020204"/>
                <a:ea typeface="+mn-ea"/>
                <a:cs typeface="+mn-cs"/>
                <a:sym typeface="Helvetica" panose="020B0604020202020204" pitchFamily="34" charset="0"/>
              </a:rPr>
              <a:t>1 723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A4A07A8E-376F-43D0-B707-96D21528F592}"/>
              </a:ext>
            </a:extLst>
          </p:cNvPr>
          <p:cNvSpPr txBox="1"/>
          <p:nvPr/>
        </p:nvSpPr>
        <p:spPr>
          <a:xfrm>
            <a:off x="5334175" y="1873973"/>
            <a:ext cx="1531169" cy="7386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4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" panose="020B0604020202020204" pitchFamily="34" charset="0"/>
              </a:rPr>
              <a:t>million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4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" panose="020B0604020202020204" pitchFamily="34" charset="0"/>
              </a:rPr>
              <a:t>i omset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14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Helvetica" panose="020B0604020202020204" pitchFamily="34" charset="0"/>
              </a:rPr>
              <a:t>i 2023</a:t>
            </a:r>
            <a:endParaRPr kumimoji="0" lang="nb-NO" sz="14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5098646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31923" y="204281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9649709-A807-2C90-2F85-E4769DDB2E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1477" y="1753081"/>
            <a:ext cx="8552719" cy="681080"/>
          </a:xfrm>
        </p:spPr>
        <p:txBody>
          <a:bodyPr anchor="b">
            <a:normAutofit/>
          </a:bodyPr>
          <a:lstStyle/>
          <a:p>
            <a:r>
              <a:rPr lang="nb-NO" b="1" dirty="0"/>
              <a:t>Endring i kontekst = endring av risikobildet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B5882736-F11B-1FE3-CAD3-ED39D17B3B3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10"/>
          <a:stretch/>
        </p:blipFill>
        <p:spPr>
          <a:xfrm>
            <a:off x="941477" y="2744872"/>
            <a:ext cx="6968332" cy="3842134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4" name="Gruppe 3">
            <a:extLst>
              <a:ext uri="{FF2B5EF4-FFF2-40B4-BE49-F238E27FC236}">
                <a16:creationId xmlns:a16="http://schemas.microsoft.com/office/drawing/2014/main" id="{C6B1E56B-2AFC-AD42-742E-9247E4CC4268}"/>
              </a:ext>
            </a:extLst>
          </p:cNvPr>
          <p:cNvGrpSpPr/>
          <p:nvPr/>
        </p:nvGrpSpPr>
        <p:grpSpPr>
          <a:xfrm>
            <a:off x="7454682" y="4556386"/>
            <a:ext cx="4079027" cy="1719909"/>
            <a:chOff x="7357851" y="4216752"/>
            <a:chExt cx="4079027" cy="1719909"/>
          </a:xfrm>
        </p:grpSpPr>
        <p:pic>
          <p:nvPicPr>
            <p:cNvPr id="5" name="Grafikk 4" descr="Mål med heldekkende fyll">
              <a:extLst>
                <a:ext uri="{FF2B5EF4-FFF2-40B4-BE49-F238E27FC236}">
                  <a16:creationId xmlns:a16="http://schemas.microsoft.com/office/drawing/2014/main" id="{BAE53FD0-0D66-998A-9395-CF84161785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20534" y="4549712"/>
              <a:ext cx="380267" cy="380267"/>
            </a:xfrm>
            <a:prstGeom prst="rect">
              <a:avLst/>
            </a:prstGeom>
          </p:spPr>
        </p:pic>
        <p:pic>
          <p:nvPicPr>
            <p:cNvPr id="6" name="Grafikk 5" descr="Mål med heldekkende fyll">
              <a:extLst>
                <a:ext uri="{FF2B5EF4-FFF2-40B4-BE49-F238E27FC236}">
                  <a16:creationId xmlns:a16="http://schemas.microsoft.com/office/drawing/2014/main" id="{4D6DC58E-A165-71AA-69FA-2339184473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20536" y="5289834"/>
              <a:ext cx="380267" cy="380267"/>
            </a:xfrm>
            <a:prstGeom prst="rect">
              <a:avLst/>
            </a:prstGeom>
          </p:spPr>
        </p:pic>
        <p:sp>
          <p:nvSpPr>
            <p:cNvPr id="7" name="Plassholder for innhold 13">
              <a:extLst>
                <a:ext uri="{FF2B5EF4-FFF2-40B4-BE49-F238E27FC236}">
                  <a16:creationId xmlns:a16="http://schemas.microsoft.com/office/drawing/2014/main" id="{A5863B4D-7751-0165-A0C5-B72C6DC1B778}"/>
                </a:ext>
              </a:extLst>
            </p:cNvPr>
            <p:cNvSpPr txBox="1">
              <a:spLocks/>
            </p:cNvSpPr>
            <p:nvPr/>
          </p:nvSpPr>
          <p:spPr>
            <a:xfrm>
              <a:off x="7357851" y="4216752"/>
              <a:ext cx="4079027" cy="1719909"/>
            </a:xfrm>
            <a:prstGeom prst="rect">
              <a:avLst/>
            </a:prstGeom>
          </p:spPr>
          <p:txBody>
            <a:bodyPr vert="horz" lIns="0" tIns="0" rIns="0" bIns="0" rtlCol="0" anchor="ctr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Bierstadt Display" panose="020B05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Bierstadt Display" panose="020B05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Bierstadt Display" panose="020B05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Bierstadt Display" panose="020B05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Bierstadt Display" panose="020B05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ts val="1800"/>
                </a:spcBef>
                <a:spcAft>
                  <a:spcPts val="1200"/>
                </a:spcAft>
              </a:pPr>
              <a:r>
                <a:rPr lang="nb-NO" dirty="0">
                  <a:solidFill>
                    <a:schemeClr val="accent1"/>
                  </a:solidFill>
                  <a:latin typeface="Bierstadt Display"/>
                </a:rPr>
                <a:t>Grønn omstilling</a:t>
              </a:r>
            </a:p>
            <a:p>
              <a:pPr algn="ctr">
                <a:lnSpc>
                  <a:spcPct val="100000"/>
                </a:lnSpc>
                <a:spcBef>
                  <a:spcPts val="1800"/>
                </a:spcBef>
                <a:spcAft>
                  <a:spcPts val="1200"/>
                </a:spcAft>
              </a:pPr>
              <a:r>
                <a:rPr lang="nb-NO" dirty="0">
                  <a:solidFill>
                    <a:schemeClr val="accent1"/>
                  </a:solidFill>
                  <a:latin typeface="Bierstadt Display"/>
                </a:rPr>
                <a:t>Næringsutvikling</a:t>
              </a:r>
              <a:endParaRPr lang="nb-NO" dirty="0">
                <a:solidFill>
                  <a:schemeClr val="accent1"/>
                </a:solidFill>
                <a:latin typeface="Euphemia" panose="020B0503040102020104" pitchFamily="34" charset="0"/>
              </a:endParaRPr>
            </a:p>
          </p:txBody>
        </p:sp>
      </p:grpSp>
      <p:grpSp>
        <p:nvGrpSpPr>
          <p:cNvPr id="9" name="Gruppe 8">
            <a:extLst>
              <a:ext uri="{FF2B5EF4-FFF2-40B4-BE49-F238E27FC236}">
                <a16:creationId xmlns:a16="http://schemas.microsoft.com/office/drawing/2014/main" id="{08D28A40-94AB-B6C6-8354-99E799A31F40}"/>
              </a:ext>
            </a:extLst>
          </p:cNvPr>
          <p:cNvGrpSpPr/>
          <p:nvPr/>
        </p:nvGrpSpPr>
        <p:grpSpPr>
          <a:xfrm>
            <a:off x="8321924" y="3084506"/>
            <a:ext cx="2896500" cy="1719909"/>
            <a:chOff x="8225093" y="2744872"/>
            <a:chExt cx="2896500" cy="1719909"/>
          </a:xfrm>
        </p:grpSpPr>
        <p:sp>
          <p:nvSpPr>
            <p:cNvPr id="10" name="Grafikk 8" descr="Merke, avkryssing 1 med heldekkende fyll">
              <a:extLst>
                <a:ext uri="{FF2B5EF4-FFF2-40B4-BE49-F238E27FC236}">
                  <a16:creationId xmlns:a16="http://schemas.microsoft.com/office/drawing/2014/main" id="{B8B3B8BA-603F-EDF6-129D-A31E230D69BF}"/>
                </a:ext>
              </a:extLst>
            </p:cNvPr>
            <p:cNvSpPr/>
            <p:nvPr/>
          </p:nvSpPr>
          <p:spPr>
            <a:xfrm>
              <a:off x="10738700" y="3088343"/>
              <a:ext cx="300879" cy="300879"/>
            </a:xfrm>
            <a:custGeom>
              <a:avLst/>
              <a:gdLst>
                <a:gd name="connsiteX0" fmla="*/ 150440 w 300879"/>
                <a:gd name="connsiteY0" fmla="*/ 0 h 300879"/>
                <a:gd name="connsiteX1" fmla="*/ 0 w 300879"/>
                <a:gd name="connsiteY1" fmla="*/ 150440 h 300879"/>
                <a:gd name="connsiteX2" fmla="*/ 150440 w 300879"/>
                <a:gd name="connsiteY2" fmla="*/ 300879 h 300879"/>
                <a:gd name="connsiteX3" fmla="*/ 300879 w 300879"/>
                <a:gd name="connsiteY3" fmla="*/ 150440 h 300879"/>
                <a:gd name="connsiteX4" fmla="*/ 300879 w 300879"/>
                <a:gd name="connsiteY4" fmla="*/ 150428 h 300879"/>
                <a:gd name="connsiteX5" fmla="*/ 150554 w 300879"/>
                <a:gd name="connsiteY5" fmla="*/ 0 h 300879"/>
                <a:gd name="connsiteX6" fmla="*/ 150440 w 300879"/>
                <a:gd name="connsiteY6" fmla="*/ 0 h 300879"/>
                <a:gd name="connsiteX7" fmla="*/ 186882 w 300879"/>
                <a:gd name="connsiteY7" fmla="*/ 157625 h 300879"/>
                <a:gd name="connsiteX8" fmla="*/ 120731 w 300879"/>
                <a:gd name="connsiteY8" fmla="*/ 223843 h 300879"/>
                <a:gd name="connsiteX9" fmla="*/ 64047 w 300879"/>
                <a:gd name="connsiteY9" fmla="*/ 167159 h 300879"/>
                <a:gd name="connsiteX10" fmla="*/ 82986 w 300879"/>
                <a:gd name="connsiteY10" fmla="*/ 148221 h 300879"/>
                <a:gd name="connsiteX11" fmla="*/ 120731 w 300879"/>
                <a:gd name="connsiteY11" fmla="*/ 185967 h 300879"/>
                <a:gd name="connsiteX12" fmla="*/ 175395 w 300879"/>
                <a:gd name="connsiteY12" fmla="*/ 130594 h 300879"/>
                <a:gd name="connsiteX13" fmla="*/ 222298 w 300879"/>
                <a:gd name="connsiteY13" fmla="*/ 84285 h 300879"/>
                <a:gd name="connsiteX14" fmla="*/ 224006 w 300879"/>
                <a:gd name="connsiteY14" fmla="*/ 82700 h 300879"/>
                <a:gd name="connsiteX15" fmla="*/ 225590 w 300879"/>
                <a:gd name="connsiteY15" fmla="*/ 80989 h 300879"/>
                <a:gd name="connsiteX16" fmla="*/ 244794 w 300879"/>
                <a:gd name="connsiteY16" fmla="*/ 99927 h 300879"/>
                <a:gd name="connsiteX17" fmla="*/ 186878 w 300879"/>
                <a:gd name="connsiteY17" fmla="*/ 157613 h 300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879" h="300879">
                  <a:moveTo>
                    <a:pt x="150440" y="0"/>
                  </a:moveTo>
                  <a:cubicBezTo>
                    <a:pt x="67354" y="0"/>
                    <a:pt x="0" y="67354"/>
                    <a:pt x="0" y="150440"/>
                  </a:cubicBezTo>
                  <a:cubicBezTo>
                    <a:pt x="0" y="233525"/>
                    <a:pt x="67354" y="300879"/>
                    <a:pt x="150440" y="300879"/>
                  </a:cubicBezTo>
                  <a:cubicBezTo>
                    <a:pt x="233525" y="300879"/>
                    <a:pt x="300879" y="233525"/>
                    <a:pt x="300879" y="150440"/>
                  </a:cubicBezTo>
                  <a:cubicBezTo>
                    <a:pt x="300879" y="150436"/>
                    <a:pt x="300879" y="150432"/>
                    <a:pt x="300879" y="150428"/>
                  </a:cubicBezTo>
                  <a:cubicBezTo>
                    <a:pt x="300908" y="67377"/>
                    <a:pt x="233605" y="29"/>
                    <a:pt x="150554" y="0"/>
                  </a:cubicBezTo>
                  <a:cubicBezTo>
                    <a:pt x="150516" y="0"/>
                    <a:pt x="150478" y="0"/>
                    <a:pt x="150440" y="0"/>
                  </a:cubicBezTo>
                  <a:close/>
                  <a:moveTo>
                    <a:pt x="186882" y="157625"/>
                  </a:moveTo>
                  <a:cubicBezTo>
                    <a:pt x="164964" y="179504"/>
                    <a:pt x="142913" y="201577"/>
                    <a:pt x="120731" y="223843"/>
                  </a:cubicBezTo>
                  <a:cubicBezTo>
                    <a:pt x="101881" y="204904"/>
                    <a:pt x="82987" y="186009"/>
                    <a:pt x="64047" y="167159"/>
                  </a:cubicBezTo>
                  <a:lnTo>
                    <a:pt x="82986" y="148221"/>
                  </a:lnTo>
                  <a:lnTo>
                    <a:pt x="120731" y="185967"/>
                  </a:lnTo>
                  <a:cubicBezTo>
                    <a:pt x="139055" y="167379"/>
                    <a:pt x="157276" y="148921"/>
                    <a:pt x="175395" y="130594"/>
                  </a:cubicBezTo>
                  <a:cubicBezTo>
                    <a:pt x="193501" y="112270"/>
                    <a:pt x="203519" y="102435"/>
                    <a:pt x="222298" y="84285"/>
                  </a:cubicBezTo>
                  <a:cubicBezTo>
                    <a:pt x="222825" y="83758"/>
                    <a:pt x="223392" y="83235"/>
                    <a:pt x="224006" y="82700"/>
                  </a:cubicBezTo>
                  <a:cubicBezTo>
                    <a:pt x="224601" y="82196"/>
                    <a:pt x="225133" y="81621"/>
                    <a:pt x="225590" y="80989"/>
                  </a:cubicBezTo>
                  <a:lnTo>
                    <a:pt x="244794" y="99927"/>
                  </a:lnTo>
                  <a:cubicBezTo>
                    <a:pt x="222488" y="122110"/>
                    <a:pt x="208799" y="135736"/>
                    <a:pt x="186878" y="157613"/>
                  </a:cubicBezTo>
                  <a:close/>
                </a:path>
              </a:pathLst>
            </a:custGeom>
            <a:solidFill>
              <a:schemeClr val="accent2"/>
            </a:solidFill>
            <a:ln w="38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Grafikk 9" descr="Merke, avkryssing 1 med heldekkende fyll">
              <a:extLst>
                <a:ext uri="{FF2B5EF4-FFF2-40B4-BE49-F238E27FC236}">
                  <a16:creationId xmlns:a16="http://schemas.microsoft.com/office/drawing/2014/main" id="{67BA92EE-7CCD-7560-DA5E-CFF8089C5997}"/>
                </a:ext>
              </a:extLst>
            </p:cNvPr>
            <p:cNvSpPr/>
            <p:nvPr/>
          </p:nvSpPr>
          <p:spPr>
            <a:xfrm>
              <a:off x="10760145" y="3849201"/>
              <a:ext cx="300879" cy="300879"/>
            </a:xfrm>
            <a:custGeom>
              <a:avLst/>
              <a:gdLst>
                <a:gd name="connsiteX0" fmla="*/ 150440 w 300879"/>
                <a:gd name="connsiteY0" fmla="*/ 0 h 300879"/>
                <a:gd name="connsiteX1" fmla="*/ 0 w 300879"/>
                <a:gd name="connsiteY1" fmla="*/ 150440 h 300879"/>
                <a:gd name="connsiteX2" fmla="*/ 150440 w 300879"/>
                <a:gd name="connsiteY2" fmla="*/ 300879 h 300879"/>
                <a:gd name="connsiteX3" fmla="*/ 300879 w 300879"/>
                <a:gd name="connsiteY3" fmla="*/ 150440 h 300879"/>
                <a:gd name="connsiteX4" fmla="*/ 300879 w 300879"/>
                <a:gd name="connsiteY4" fmla="*/ 150428 h 300879"/>
                <a:gd name="connsiteX5" fmla="*/ 150554 w 300879"/>
                <a:gd name="connsiteY5" fmla="*/ 0 h 300879"/>
                <a:gd name="connsiteX6" fmla="*/ 150440 w 300879"/>
                <a:gd name="connsiteY6" fmla="*/ 0 h 300879"/>
                <a:gd name="connsiteX7" fmla="*/ 186882 w 300879"/>
                <a:gd name="connsiteY7" fmla="*/ 157625 h 300879"/>
                <a:gd name="connsiteX8" fmla="*/ 120731 w 300879"/>
                <a:gd name="connsiteY8" fmla="*/ 223843 h 300879"/>
                <a:gd name="connsiteX9" fmla="*/ 64047 w 300879"/>
                <a:gd name="connsiteY9" fmla="*/ 167159 h 300879"/>
                <a:gd name="connsiteX10" fmla="*/ 82986 w 300879"/>
                <a:gd name="connsiteY10" fmla="*/ 148221 h 300879"/>
                <a:gd name="connsiteX11" fmla="*/ 120731 w 300879"/>
                <a:gd name="connsiteY11" fmla="*/ 185967 h 300879"/>
                <a:gd name="connsiteX12" fmla="*/ 175395 w 300879"/>
                <a:gd name="connsiteY12" fmla="*/ 130594 h 300879"/>
                <a:gd name="connsiteX13" fmla="*/ 222298 w 300879"/>
                <a:gd name="connsiteY13" fmla="*/ 84285 h 300879"/>
                <a:gd name="connsiteX14" fmla="*/ 224006 w 300879"/>
                <a:gd name="connsiteY14" fmla="*/ 82700 h 300879"/>
                <a:gd name="connsiteX15" fmla="*/ 225590 w 300879"/>
                <a:gd name="connsiteY15" fmla="*/ 80989 h 300879"/>
                <a:gd name="connsiteX16" fmla="*/ 244794 w 300879"/>
                <a:gd name="connsiteY16" fmla="*/ 99927 h 300879"/>
                <a:gd name="connsiteX17" fmla="*/ 186878 w 300879"/>
                <a:gd name="connsiteY17" fmla="*/ 157613 h 3008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300879" h="300879">
                  <a:moveTo>
                    <a:pt x="150440" y="0"/>
                  </a:moveTo>
                  <a:cubicBezTo>
                    <a:pt x="67354" y="0"/>
                    <a:pt x="0" y="67354"/>
                    <a:pt x="0" y="150440"/>
                  </a:cubicBezTo>
                  <a:cubicBezTo>
                    <a:pt x="0" y="233525"/>
                    <a:pt x="67354" y="300879"/>
                    <a:pt x="150440" y="300879"/>
                  </a:cubicBezTo>
                  <a:cubicBezTo>
                    <a:pt x="233525" y="300879"/>
                    <a:pt x="300879" y="233525"/>
                    <a:pt x="300879" y="150440"/>
                  </a:cubicBezTo>
                  <a:cubicBezTo>
                    <a:pt x="300879" y="150436"/>
                    <a:pt x="300879" y="150432"/>
                    <a:pt x="300879" y="150428"/>
                  </a:cubicBezTo>
                  <a:cubicBezTo>
                    <a:pt x="300908" y="67377"/>
                    <a:pt x="233605" y="29"/>
                    <a:pt x="150554" y="0"/>
                  </a:cubicBezTo>
                  <a:cubicBezTo>
                    <a:pt x="150516" y="0"/>
                    <a:pt x="150478" y="0"/>
                    <a:pt x="150440" y="0"/>
                  </a:cubicBezTo>
                  <a:close/>
                  <a:moveTo>
                    <a:pt x="186882" y="157625"/>
                  </a:moveTo>
                  <a:cubicBezTo>
                    <a:pt x="164964" y="179504"/>
                    <a:pt x="142913" y="201577"/>
                    <a:pt x="120731" y="223843"/>
                  </a:cubicBezTo>
                  <a:cubicBezTo>
                    <a:pt x="101881" y="204904"/>
                    <a:pt x="82987" y="186009"/>
                    <a:pt x="64047" y="167159"/>
                  </a:cubicBezTo>
                  <a:lnTo>
                    <a:pt x="82986" y="148221"/>
                  </a:lnTo>
                  <a:lnTo>
                    <a:pt x="120731" y="185967"/>
                  </a:lnTo>
                  <a:cubicBezTo>
                    <a:pt x="139055" y="167379"/>
                    <a:pt x="157276" y="148921"/>
                    <a:pt x="175395" y="130594"/>
                  </a:cubicBezTo>
                  <a:cubicBezTo>
                    <a:pt x="193501" y="112270"/>
                    <a:pt x="203519" y="102435"/>
                    <a:pt x="222298" y="84285"/>
                  </a:cubicBezTo>
                  <a:cubicBezTo>
                    <a:pt x="222825" y="83758"/>
                    <a:pt x="223392" y="83235"/>
                    <a:pt x="224006" y="82700"/>
                  </a:cubicBezTo>
                  <a:cubicBezTo>
                    <a:pt x="224601" y="82196"/>
                    <a:pt x="225133" y="81621"/>
                    <a:pt x="225590" y="80989"/>
                  </a:cubicBezTo>
                  <a:lnTo>
                    <a:pt x="244794" y="99927"/>
                  </a:lnTo>
                  <a:cubicBezTo>
                    <a:pt x="222488" y="122110"/>
                    <a:pt x="208799" y="135736"/>
                    <a:pt x="186878" y="157613"/>
                  </a:cubicBezTo>
                  <a:close/>
                </a:path>
              </a:pathLst>
            </a:custGeom>
            <a:solidFill>
              <a:schemeClr val="accent2"/>
            </a:solidFill>
            <a:ln w="38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Plassholder for innhold 13">
              <a:extLst>
                <a:ext uri="{FF2B5EF4-FFF2-40B4-BE49-F238E27FC236}">
                  <a16:creationId xmlns:a16="http://schemas.microsoft.com/office/drawing/2014/main" id="{BB106B1C-E02F-497E-46B3-AB792F264853}"/>
                </a:ext>
              </a:extLst>
            </p:cNvPr>
            <p:cNvSpPr txBox="1">
              <a:spLocks/>
            </p:cNvSpPr>
            <p:nvPr/>
          </p:nvSpPr>
          <p:spPr>
            <a:xfrm>
              <a:off x="8225093" y="2744872"/>
              <a:ext cx="2896500" cy="1719909"/>
            </a:xfrm>
            <a:prstGeom prst="rect">
              <a:avLst/>
            </a:prstGeom>
          </p:spPr>
          <p:txBody>
            <a:bodyPr vert="horz" lIns="0" tIns="0" rIns="0" bIns="0" rtlCol="0" anchor="ctr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Bierstadt Display" panose="020B0504020202020204" pitchFamily="34" charset="0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100" kern="1200">
                  <a:solidFill>
                    <a:schemeClr val="tx1"/>
                  </a:solidFill>
                  <a:latin typeface="Bierstadt Display" panose="020B0504020202020204" pitchFamily="34" charset="0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900" kern="1200">
                  <a:solidFill>
                    <a:schemeClr val="tx1"/>
                  </a:solidFill>
                  <a:latin typeface="Bierstadt Display" panose="020B0504020202020204" pitchFamily="34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Bierstadt Display" panose="020B0504020202020204" pitchFamily="34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Bierstadt Display" panose="020B050402020202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0000"/>
                </a:lnSpc>
                <a:spcBef>
                  <a:spcPts val="1800"/>
                </a:spcBef>
                <a:spcAft>
                  <a:spcPts val="1200"/>
                </a:spcAft>
              </a:pPr>
              <a:r>
                <a:rPr lang="nb-NO" dirty="0">
                  <a:solidFill>
                    <a:schemeClr val="accent1"/>
                  </a:solidFill>
                  <a:latin typeface="Bierstadt Display"/>
                </a:rPr>
                <a:t>Høy oppetid</a:t>
              </a:r>
            </a:p>
            <a:p>
              <a:pPr>
                <a:lnSpc>
                  <a:spcPct val="100000"/>
                </a:lnSpc>
                <a:spcBef>
                  <a:spcPts val="1800"/>
                </a:spcBef>
                <a:spcAft>
                  <a:spcPts val="1200"/>
                </a:spcAft>
              </a:pPr>
              <a:r>
                <a:rPr lang="nb-NO" dirty="0">
                  <a:solidFill>
                    <a:schemeClr val="accent1"/>
                  </a:solidFill>
                  <a:latin typeface="Bierstadt Display"/>
                </a:rPr>
                <a:t>Lave kostnader</a:t>
              </a:r>
              <a:endParaRPr lang="nb-NO" dirty="0">
                <a:solidFill>
                  <a:schemeClr val="accent1"/>
                </a:solidFill>
                <a:latin typeface="Euphemia" panose="020B05030401020201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32793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31923" y="204281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9649709-A807-2C90-2F85-E4769DDB2E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27474" y="2520156"/>
            <a:ext cx="4652321" cy="1817687"/>
          </a:xfrm>
        </p:spPr>
        <p:txBody>
          <a:bodyPr anchor="b">
            <a:normAutofit/>
          </a:bodyPr>
          <a:lstStyle/>
          <a:p>
            <a:pPr algn="ctr"/>
            <a:r>
              <a:rPr lang="nb-NO" sz="10000" dirty="0"/>
              <a:t>Ansvaret</a:t>
            </a:r>
          </a:p>
        </p:txBody>
      </p:sp>
    </p:spTree>
    <p:extLst>
      <p:ext uri="{BB962C8B-B14F-4D97-AF65-F5344CB8AC3E}">
        <p14:creationId xmlns:p14="http://schemas.microsoft.com/office/powerpoint/2010/main" val="55868565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31923" y="204281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9649709-A807-2C90-2F85-E4769DDB2E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0302" y="3429000"/>
            <a:ext cx="9951396" cy="1817687"/>
          </a:xfrm>
        </p:spPr>
        <p:txBody>
          <a:bodyPr anchor="b">
            <a:normAutofit fontScale="90000"/>
          </a:bodyPr>
          <a:lstStyle/>
          <a:p>
            <a:pPr algn="ctr">
              <a:lnSpc>
                <a:spcPct val="80000"/>
              </a:lnSpc>
            </a:pPr>
            <a:r>
              <a:rPr lang="nb-NO" sz="10000" dirty="0"/>
              <a:t>Dagen da</a:t>
            </a:r>
            <a:br>
              <a:rPr lang="nb-NO" sz="10000" dirty="0"/>
            </a:br>
            <a:r>
              <a:rPr lang="nb-NO" sz="10000" b="1" dirty="0">
                <a:solidFill>
                  <a:srgbClr val="FF0000"/>
                </a:solidFill>
              </a:rPr>
              <a:t>det verste </a:t>
            </a:r>
            <a:br>
              <a:rPr lang="nb-NO" sz="10000" dirty="0"/>
            </a:br>
            <a:r>
              <a:rPr lang="nb-NO" sz="10000" dirty="0"/>
              <a:t>kunne skjedd</a:t>
            </a:r>
          </a:p>
        </p:txBody>
      </p:sp>
    </p:spTree>
    <p:extLst>
      <p:ext uri="{BB962C8B-B14F-4D97-AF65-F5344CB8AC3E}">
        <p14:creationId xmlns:p14="http://schemas.microsoft.com/office/powerpoint/2010/main" val="3436920416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70834" y="172043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278B3AAC-4DD1-4163-2381-260453D10695}"/>
              </a:ext>
            </a:extLst>
          </p:cNvPr>
          <p:cNvGrpSpPr/>
          <p:nvPr/>
        </p:nvGrpSpPr>
        <p:grpSpPr>
          <a:xfrm>
            <a:off x="1503082" y="661645"/>
            <a:ext cx="9185835" cy="5534710"/>
            <a:chOff x="1573210" y="545194"/>
            <a:chExt cx="9185835" cy="5534710"/>
          </a:xfrm>
        </p:grpSpPr>
        <p:graphicFrame>
          <p:nvGraphicFramePr>
            <p:cNvPr id="7" name="Diagram 6">
              <a:extLst>
                <a:ext uri="{FF2B5EF4-FFF2-40B4-BE49-F238E27FC236}">
                  <a16:creationId xmlns:a16="http://schemas.microsoft.com/office/drawing/2014/main" id="{EC2E2CEE-AE00-C94C-96EC-400C30C3DEC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648261470"/>
                </p:ext>
              </p:extLst>
            </p:nvPr>
          </p:nvGraphicFramePr>
          <p:xfrm>
            <a:off x="1573210" y="545194"/>
            <a:ext cx="9185835" cy="553471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10" name="Grafikk 9" descr="Hierarki med heldekkende fyll">
              <a:extLst>
                <a:ext uri="{FF2B5EF4-FFF2-40B4-BE49-F238E27FC236}">
                  <a16:creationId xmlns:a16="http://schemas.microsoft.com/office/drawing/2014/main" id="{27AA9969-E085-459B-6E7F-7A3DF8C80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08927" y="1688193"/>
              <a:ext cx="914400" cy="914400"/>
            </a:xfrm>
            <a:prstGeom prst="rect">
              <a:avLst/>
            </a:prstGeom>
          </p:spPr>
        </p:pic>
        <p:pic>
          <p:nvPicPr>
            <p:cNvPr id="11" name="Grafikk 10" descr="Åpen hånd med plante med heldekkende fyll">
              <a:extLst>
                <a:ext uri="{FF2B5EF4-FFF2-40B4-BE49-F238E27FC236}">
                  <a16:creationId xmlns:a16="http://schemas.microsoft.com/office/drawing/2014/main" id="{862544C5-D503-54BC-94D9-40AA6E7A3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708927" y="3367579"/>
              <a:ext cx="914400" cy="914400"/>
            </a:xfrm>
            <a:prstGeom prst="rect">
              <a:avLst/>
            </a:prstGeom>
          </p:spPr>
        </p:pic>
        <p:pic>
          <p:nvPicPr>
            <p:cNvPr id="12" name="Grafikk 11" descr="Skål med heldekkende fyll">
              <a:extLst>
                <a:ext uri="{FF2B5EF4-FFF2-40B4-BE49-F238E27FC236}">
                  <a16:creationId xmlns:a16="http://schemas.microsoft.com/office/drawing/2014/main" id="{A8922130-E3E4-2160-1CC8-90BEA4308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313422" y="4580804"/>
              <a:ext cx="914400" cy="914400"/>
            </a:xfrm>
            <a:prstGeom prst="rect">
              <a:avLst/>
            </a:prstGeom>
          </p:spPr>
        </p:pic>
      </p:grpSp>
      <p:pic>
        <p:nvPicPr>
          <p:cNvPr id="17" name="Grafikk 16" descr="psykisk helse med heldekkende fyll">
            <a:extLst>
              <a:ext uri="{FF2B5EF4-FFF2-40B4-BE49-F238E27FC236}">
                <a16:creationId xmlns:a16="http://schemas.microsoft.com/office/drawing/2014/main" id="{97D77727-C25F-C16F-F4A8-FB764B1E689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34308" y="469725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66577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70834" y="172043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278B3AAC-4DD1-4163-2381-260453D10695}"/>
              </a:ext>
            </a:extLst>
          </p:cNvPr>
          <p:cNvGrpSpPr/>
          <p:nvPr/>
        </p:nvGrpSpPr>
        <p:grpSpPr>
          <a:xfrm>
            <a:off x="1503082" y="661645"/>
            <a:ext cx="9185835" cy="5534710"/>
            <a:chOff x="1573210" y="545194"/>
            <a:chExt cx="9185835" cy="5534710"/>
          </a:xfrm>
        </p:grpSpPr>
        <p:graphicFrame>
          <p:nvGraphicFramePr>
            <p:cNvPr id="7" name="Diagram 6">
              <a:extLst>
                <a:ext uri="{FF2B5EF4-FFF2-40B4-BE49-F238E27FC236}">
                  <a16:creationId xmlns:a16="http://schemas.microsoft.com/office/drawing/2014/main" id="{EC2E2CEE-AE00-C94C-96EC-400C30C3DEC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03833632"/>
                </p:ext>
              </p:extLst>
            </p:nvPr>
          </p:nvGraphicFramePr>
          <p:xfrm>
            <a:off x="1573210" y="545194"/>
            <a:ext cx="9185835" cy="553471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10" name="Grafikk 9" descr="Hierarki med heldekkende fyll">
              <a:extLst>
                <a:ext uri="{FF2B5EF4-FFF2-40B4-BE49-F238E27FC236}">
                  <a16:creationId xmlns:a16="http://schemas.microsoft.com/office/drawing/2014/main" id="{27AA9969-E085-459B-6E7F-7A3DF8C80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08927" y="1688193"/>
              <a:ext cx="914400" cy="914400"/>
            </a:xfrm>
            <a:prstGeom prst="rect">
              <a:avLst/>
            </a:prstGeom>
          </p:spPr>
        </p:pic>
        <p:pic>
          <p:nvPicPr>
            <p:cNvPr id="11" name="Grafikk 10" descr="Åpen hånd med plante med heldekkende fyll">
              <a:extLst>
                <a:ext uri="{FF2B5EF4-FFF2-40B4-BE49-F238E27FC236}">
                  <a16:creationId xmlns:a16="http://schemas.microsoft.com/office/drawing/2014/main" id="{862544C5-D503-54BC-94D9-40AA6E7A3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708927" y="3367579"/>
              <a:ext cx="914400" cy="914400"/>
            </a:xfrm>
            <a:prstGeom prst="rect">
              <a:avLst/>
            </a:prstGeom>
          </p:spPr>
        </p:pic>
        <p:pic>
          <p:nvPicPr>
            <p:cNvPr id="12" name="Grafikk 11" descr="Skål med heldekkende fyll">
              <a:extLst>
                <a:ext uri="{FF2B5EF4-FFF2-40B4-BE49-F238E27FC236}">
                  <a16:creationId xmlns:a16="http://schemas.microsoft.com/office/drawing/2014/main" id="{A8922130-E3E4-2160-1CC8-90BEA4308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313422" y="4580804"/>
              <a:ext cx="914400" cy="914400"/>
            </a:xfrm>
            <a:prstGeom prst="rect">
              <a:avLst/>
            </a:prstGeom>
          </p:spPr>
        </p:pic>
      </p:grpSp>
      <p:pic>
        <p:nvPicPr>
          <p:cNvPr id="17" name="Grafikk 16" descr="psykisk helse med heldekkende fyll">
            <a:extLst>
              <a:ext uri="{FF2B5EF4-FFF2-40B4-BE49-F238E27FC236}">
                <a16:creationId xmlns:a16="http://schemas.microsoft.com/office/drawing/2014/main" id="{97D77727-C25F-C16F-F4A8-FB764B1E689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34308" y="469725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91153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70834" y="172043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278B3AAC-4DD1-4163-2381-260453D10695}"/>
              </a:ext>
            </a:extLst>
          </p:cNvPr>
          <p:cNvGrpSpPr/>
          <p:nvPr/>
        </p:nvGrpSpPr>
        <p:grpSpPr>
          <a:xfrm>
            <a:off x="1503082" y="661645"/>
            <a:ext cx="9185835" cy="5534710"/>
            <a:chOff x="1573210" y="545194"/>
            <a:chExt cx="9185835" cy="5534710"/>
          </a:xfrm>
        </p:grpSpPr>
        <p:graphicFrame>
          <p:nvGraphicFramePr>
            <p:cNvPr id="7" name="Diagram 6">
              <a:extLst>
                <a:ext uri="{FF2B5EF4-FFF2-40B4-BE49-F238E27FC236}">
                  <a16:creationId xmlns:a16="http://schemas.microsoft.com/office/drawing/2014/main" id="{EC2E2CEE-AE00-C94C-96EC-400C30C3DEC1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885841675"/>
                </p:ext>
              </p:extLst>
            </p:nvPr>
          </p:nvGraphicFramePr>
          <p:xfrm>
            <a:off x="1573210" y="545194"/>
            <a:ext cx="9185835" cy="553471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10" name="Grafikk 9" descr="Hierarki med heldekkende fyll">
              <a:extLst>
                <a:ext uri="{FF2B5EF4-FFF2-40B4-BE49-F238E27FC236}">
                  <a16:creationId xmlns:a16="http://schemas.microsoft.com/office/drawing/2014/main" id="{27AA9969-E085-459B-6E7F-7A3DF8C80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708927" y="1688193"/>
              <a:ext cx="914400" cy="914400"/>
            </a:xfrm>
            <a:prstGeom prst="rect">
              <a:avLst/>
            </a:prstGeom>
          </p:spPr>
        </p:pic>
        <p:pic>
          <p:nvPicPr>
            <p:cNvPr id="11" name="Grafikk 10" descr="Åpen hånd med plante med heldekkende fyll">
              <a:extLst>
                <a:ext uri="{FF2B5EF4-FFF2-40B4-BE49-F238E27FC236}">
                  <a16:creationId xmlns:a16="http://schemas.microsoft.com/office/drawing/2014/main" id="{862544C5-D503-54BC-94D9-40AA6E7A3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708927" y="3367579"/>
              <a:ext cx="914400" cy="914400"/>
            </a:xfrm>
            <a:prstGeom prst="rect">
              <a:avLst/>
            </a:prstGeom>
          </p:spPr>
        </p:pic>
        <p:pic>
          <p:nvPicPr>
            <p:cNvPr id="12" name="Grafikk 11" descr="Skål med heldekkende fyll">
              <a:extLst>
                <a:ext uri="{FF2B5EF4-FFF2-40B4-BE49-F238E27FC236}">
                  <a16:creationId xmlns:a16="http://schemas.microsoft.com/office/drawing/2014/main" id="{A8922130-E3E4-2160-1CC8-90BEA4308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313422" y="4580804"/>
              <a:ext cx="914400" cy="914400"/>
            </a:xfrm>
            <a:prstGeom prst="rect">
              <a:avLst/>
            </a:prstGeom>
          </p:spPr>
        </p:pic>
      </p:grpSp>
      <p:pic>
        <p:nvPicPr>
          <p:cNvPr id="17" name="Grafikk 16" descr="psykisk helse med heldekkende fyll">
            <a:extLst>
              <a:ext uri="{FF2B5EF4-FFF2-40B4-BE49-F238E27FC236}">
                <a16:creationId xmlns:a16="http://schemas.microsoft.com/office/drawing/2014/main" id="{97D77727-C25F-C16F-F4A8-FB764B1E689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34308" y="4697255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17779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6E649931-2C2C-B3F1-8346-B0A7AA043EF1}"/>
              </a:ext>
            </a:extLst>
          </p:cNvPr>
          <p:cNvSpPr/>
          <p:nvPr/>
        </p:nvSpPr>
        <p:spPr>
          <a:xfrm>
            <a:off x="4970834" y="172043"/>
            <a:ext cx="7110920" cy="6391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lassholder for tekst 3">
            <a:extLst>
              <a:ext uri="{FF2B5EF4-FFF2-40B4-BE49-F238E27FC236}">
                <a16:creationId xmlns:a16="http://schemas.microsoft.com/office/drawing/2014/main" id="{AF60DBE5-2D0A-D5E1-8F03-65B309C05343}"/>
              </a:ext>
            </a:extLst>
          </p:cNvPr>
          <p:cNvSpPr txBox="1">
            <a:spLocks/>
          </p:cNvSpPr>
          <p:nvPr/>
        </p:nvSpPr>
        <p:spPr bwMode="auto">
          <a:xfrm>
            <a:off x="3791826" y="2105565"/>
            <a:ext cx="5692641" cy="3352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  <a:norm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None/>
              <a:defRPr sz="2100" kern="1200">
                <a:solidFill>
                  <a:schemeClr val="tx1"/>
                </a:solidFill>
                <a:latin typeface="Bierstadt Display" panose="020B0504020202020204" pitchFamily="34" charset="0"/>
                <a:ea typeface="+mn-ea"/>
                <a:cs typeface="+mn-cs"/>
              </a:defRPr>
            </a:lvl1pPr>
            <a:lvl2pPr marL="4572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2pPr>
            <a:lvl3pPr marL="9144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3pPr>
            <a:lvl4pPr marL="13716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4pPr>
            <a:lvl5pPr marL="1828800" indent="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Bierstadt Display" panose="020B0504020202020204" pitchFamily="34" charset="0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ierstadt" panose="020B0004020202020204" pitchFamily="34" charset="0"/>
                <a:ea typeface="+mn-ea"/>
                <a:cs typeface="+mn-cs"/>
              </a:rPr>
              <a:t>Det er vanlig å gjøre feil</a:t>
            </a:r>
          </a:p>
          <a:p>
            <a:pPr marL="457200" marR="0" lvl="0" indent="-457200" algn="l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ierstadt" panose="020B0004020202020204" pitchFamily="34" charset="0"/>
                <a:ea typeface="+mn-ea"/>
                <a:cs typeface="+mn-cs"/>
              </a:rPr>
              <a:t>Skyld løser ingenting</a:t>
            </a:r>
          </a:p>
          <a:p>
            <a:pPr marL="457200" marR="0" lvl="0" indent="-457200" algn="l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ierstadt" panose="020B0004020202020204" pitchFamily="34" charset="0"/>
                <a:ea typeface="+mn-ea"/>
                <a:cs typeface="+mn-cs"/>
                <a:sym typeface="Arial"/>
              </a:rPr>
              <a:t>Omstendigheter former atferd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erstadt" panose="020B0004020202020204" pitchFamily="34" charset="0"/>
              <a:ea typeface="+mn-ea"/>
              <a:cs typeface="+mn-cs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ierstadt" panose="020B0004020202020204" pitchFamily="34" charset="0"/>
                <a:ea typeface="+mn-ea"/>
                <a:cs typeface="+mn-cs"/>
                <a:sym typeface="Arial"/>
              </a:rPr>
              <a:t>Læring er nøkkelen til forbedring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erstadt" panose="020B0004020202020204" pitchFamily="34" charset="0"/>
              <a:ea typeface="+mn-ea"/>
              <a:cs typeface="+mn-cs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+mj-lt"/>
              <a:buAutoNum type="arabicPeriod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Bierstadt" panose="020B0004020202020204" pitchFamily="34" charset="0"/>
                <a:ea typeface="+mn-ea"/>
                <a:cs typeface="+mn-cs"/>
                <a:sym typeface="Arial"/>
              </a:rPr>
              <a:t>Måten ledere responderer på betyr mye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erstadt" panose="020B0004020202020204" pitchFamily="34" charset="0"/>
              <a:ea typeface="+mn-ea"/>
              <a:cs typeface="+mn-cs"/>
            </a:endParaRPr>
          </a:p>
          <a:p>
            <a:pPr marL="457200" marR="0" lvl="0" indent="-457200" algn="l" defTabSz="914400" rtl="0" eaLnBrk="0" fontAlgn="base" latinLnBrk="0" hangingPunct="0">
              <a:lnSpc>
                <a:spcPct val="90000"/>
              </a:lnSpc>
              <a:spcBef>
                <a:spcPts val="1800"/>
              </a:spcBef>
              <a:spcAft>
                <a:spcPct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/>
            </a:pP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Bierstadt Display" panose="020B05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3549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PRESENTATIONDONOTDELETE" val="&lt;?xml version=&quot;1.0&quot; encoding=&quot;UTF-16&quot; standalone=&quot;yes&quot;?&gt;&lt;root reqver=&quot;28224&quot;&gt;&lt;version val=&quot;3529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1&quot;&gt;&lt;elem m_fUsage=&quot;1.89999999999999991118E+00&quot;&gt;&lt;m_msothmcolidx val=&quot;0&quot;/&gt;&lt;m_rgb r=&quot;72&quot; g=&quot;72&quot; b=&quot;72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EDX_FILENAMEPATH" val="https://lyse-my.sharepoint.com/personal/trond_winther_l-nett_no/Documents\Høydekonferansen_26.09.24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zC6EWwTOVmQqKvslqP_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4lKBHKazAbjvbLSiDr9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zC6EWwTOVmQqKvslqP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4lKBHKazAbjvbLSiDr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zC6EWwTOVmQqKvslqP_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4lKBHKazAbjvbLSiDr9w"/>
</p:tagLst>
</file>

<file path=ppt/theme/theme1.xml><?xml version="1.0" encoding="utf-8"?>
<a:theme xmlns:a="http://schemas.openxmlformats.org/drawingml/2006/main" name="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</a:theme>
</file>

<file path=ppt/theme/theme2.xml><?xml version="1.0" encoding="utf-8"?>
<a:theme xmlns:a="http://schemas.openxmlformats.org/drawingml/2006/main" name="1_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</a:theme>
</file>

<file path=ppt/theme/theme3.xml><?xml version="1.0" encoding="utf-8"?>
<a:theme xmlns:a="http://schemas.openxmlformats.org/drawingml/2006/main" name="2_Siemens Energy">
  <a:themeElements>
    <a:clrScheme name="Siemens Energy">
      <a:dk1>
        <a:srgbClr val="1B1534"/>
      </a:dk1>
      <a:lt1>
        <a:sysClr val="window" lastClr="FFFFFF"/>
      </a:lt1>
      <a:dk2>
        <a:srgbClr val="1B1534"/>
      </a:dk2>
      <a:lt2>
        <a:srgbClr val="D7E4EE"/>
      </a:lt2>
      <a:accent1>
        <a:srgbClr val="D7E4EE"/>
      </a:accent1>
      <a:accent2>
        <a:srgbClr val="4D217A"/>
      </a:accent2>
      <a:accent3>
        <a:srgbClr val="8A00E5"/>
      </a:accent3>
      <a:accent4>
        <a:srgbClr val="009999"/>
      </a:accent4>
      <a:accent5>
        <a:srgbClr val="F6E600"/>
      </a:accent5>
      <a:accent6>
        <a:srgbClr val="7B919D"/>
      </a:accent6>
      <a:hlink>
        <a:srgbClr val="4D217A"/>
      </a:hlink>
      <a:folHlink>
        <a:srgbClr val="7B919D"/>
      </a:folHlink>
    </a:clrScheme>
    <a:fontScheme name="Siemens Energy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0" tIns="0" rIns="0" bIns="0" rtlCol="0" anchor="ctr"/>
      <a:lstStyle>
        <a:defPPr algn="ctr">
          <a:defRPr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>
          <a:gradFill>
            <a:gsLst>
              <a:gs pos="0">
                <a:schemeClr val="tx1"/>
              </a:gs>
              <a:gs pos="100000">
                <a:schemeClr val="tx1">
                  <a:alpha val="5000"/>
                </a:schemeClr>
              </a:gs>
            </a:gsLst>
            <a:lin ang="0" scaled="0"/>
          </a:gra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 err="1" smtClean="0"/>
        </a:defPPr>
      </a:lstStyle>
    </a:txDef>
  </a:objectDefaults>
  <a:extraClrSchemeLst/>
  <a:custClrLst>
    <a:custClr name="SE Brown 1">
      <a:srgbClr val="CFC0BE"/>
    </a:custClr>
    <a:custClr name="SE Brown 3">
      <a:srgbClr val="8F7C7A"/>
    </a:custClr>
    <a:custClr name="SE Gray 1">
      <a:srgbClr val="D7E4EE"/>
    </a:custClr>
    <a:custClr name="SE Gray 3">
      <a:srgbClr val="96B0C0"/>
    </a:custClr>
    <a:custClr name="SE Green 1">
      <a:srgbClr val="00FD79"/>
    </a:custClr>
    <a:custClr name="SE Green 3">
      <a:srgbClr val="27B66D"/>
    </a:custClr>
    <a:custClr name="SE Blue 1">
      <a:srgbClr val="6ADDFF"/>
    </a:custClr>
    <a:custClr name="SE Blue 3">
      <a:srgbClr val="0084E1"/>
    </a:custClr>
    <a:custClr name="SE Yellow 1">
      <a:srgbClr val="FFF91F"/>
    </a:custClr>
    <a:custClr name="SE Yellow 3">
      <a:srgbClr val="E2D000"/>
    </a:custClr>
    <a:custClr name="SE Brown 2">
      <a:srgbClr val="AF9E9C"/>
    </a:custClr>
    <a:custClr name="SE Brown 4">
      <a:srgbClr val="7D6766"/>
    </a:custClr>
    <a:custClr name="SE Gray 2">
      <a:srgbClr val="B8CEDB"/>
    </a:custClr>
    <a:custClr name="SE Gray 4">
      <a:srgbClr val="7B919D"/>
    </a:custClr>
    <a:custClr name="SE Green 2">
      <a:srgbClr val="14DA79"/>
    </a:custClr>
    <a:custClr name="SE Green 4">
      <a:srgbClr val="009B55"/>
    </a:custClr>
    <a:custClr name="SE Blue 2">
      <a:srgbClr val="21C0FF"/>
    </a:custClr>
    <a:custClr name="SE Blue 4">
      <a:srgbClr val="0057C6"/>
    </a:custClr>
    <a:custClr name="SE Yellow 2">
      <a:srgbClr val="F6E600"/>
    </a:custClr>
    <a:custClr name="SE Yellow 4">
      <a:srgbClr val="C6AE00"/>
    </a:custClr>
  </a:custClrLst>
</a:theme>
</file>

<file path=ppt/theme/theme4.xml><?xml version="1.0" encoding="utf-8"?>
<a:theme xmlns:a="http://schemas.openxmlformats.org/drawingml/2006/main" name="5_Office-tema">
  <a:themeElements>
    <a:clrScheme name="Lnett">
      <a:dk1>
        <a:srgbClr val="000000"/>
      </a:dk1>
      <a:lt1>
        <a:srgbClr val="FFFFFF"/>
      </a:lt1>
      <a:dk2>
        <a:srgbClr val="A5A2A3"/>
      </a:dk2>
      <a:lt2>
        <a:srgbClr val="E1E0E0"/>
      </a:lt2>
      <a:accent1>
        <a:srgbClr val="E2FF0D"/>
      </a:accent1>
      <a:accent2>
        <a:srgbClr val="038380"/>
      </a:accent2>
      <a:accent3>
        <a:srgbClr val="A5A5A5"/>
      </a:accent3>
      <a:accent4>
        <a:srgbClr val="C2001E"/>
      </a:accent4>
      <a:accent5>
        <a:srgbClr val="180079"/>
      </a:accent5>
      <a:accent6>
        <a:srgbClr val="E2FF0D"/>
      </a:accent6>
      <a:hlink>
        <a:srgbClr val="0563C1"/>
      </a:hlink>
      <a:folHlink>
        <a:srgbClr val="A5A2A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al (04)" id="{938AEA28-FB56-4CB6-BBAA-F0B4E86BF94A}" vid="{13D26F38-DAC2-4FA5-84E2-CD12C2E57BF3}"/>
    </a:ext>
  </a:extLst>
</a:theme>
</file>

<file path=ppt/theme/theme5.xml><?xml version="1.0" encoding="utf-8"?>
<a:theme xmlns:a="http://schemas.openxmlformats.org/drawingml/2006/main" name="9_Office-tema">
  <a:themeElements>
    <a:clrScheme name="lnett (121121)">
      <a:dk1>
        <a:srgbClr val="000000"/>
      </a:dk1>
      <a:lt1>
        <a:srgbClr val="FFFFFF"/>
      </a:lt1>
      <a:dk2>
        <a:srgbClr val="A5A2A3"/>
      </a:dk2>
      <a:lt2>
        <a:srgbClr val="E1E0E0"/>
      </a:lt2>
      <a:accent1>
        <a:srgbClr val="000000"/>
      </a:accent1>
      <a:accent2>
        <a:srgbClr val="E2FF0D"/>
      </a:accent2>
      <a:accent3>
        <a:srgbClr val="038380"/>
      </a:accent3>
      <a:accent4>
        <a:srgbClr val="A5A5A5"/>
      </a:accent4>
      <a:accent5>
        <a:srgbClr val="C2001E"/>
      </a:accent5>
      <a:accent6>
        <a:srgbClr val="180079"/>
      </a:accent6>
      <a:hlink>
        <a:srgbClr val="0563C1"/>
      </a:hlink>
      <a:folHlink>
        <a:srgbClr val="A5A2A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nett - Presentasjon.pptx" id="{96C57623-54A0-482D-8684-F5D8FA8B4689}" vid="{BDDF797F-2E5B-4E1A-AEAB-D60C109F257E}"/>
    </a:ext>
  </a:extLst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4ppTags>
  <Name>Four objects + Navigation</Name>
  <PpLayout>32</PpLayout>
  <Index>22</Index>
</p4ppTags>
</file>

<file path=customXml/item3.xml><?xml version="1.0" encoding="utf-8"?>
<p4ppTags>
  <Name>Four objects + Navigation</Name>
  <PpLayout>32</PpLayout>
  <Index>22</Index>
</p4ppTags>
</file>

<file path=customXml/item4.xml><?xml version="1.0" encoding="utf-8"?>
<p4ppTags>
  <Name>Four objects + Navigation</Name>
  <PpLayout>32</PpLayout>
  <Index>22</Index>
</p4ppTag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e151b32-19c9-4a98-870c-787bbe05678b" xsi:nil="true"/>
    <lcf76f155ced4ddcb4097134ff3c332f xmlns="2893bc37-6a3d-411f-8084-a95ecabd716c">
      <Terms xmlns="http://schemas.microsoft.com/office/infopath/2007/PartnerControls"/>
    </lcf76f155ced4ddcb4097134ff3c332f>
    <SharedWithUsers xmlns="2e151b32-19c9-4a98-870c-787bbe05678b">
      <UserInfo>
        <DisplayName/>
        <AccountId xsi:nil="true"/>
        <AccountType/>
      </UserInfo>
    </SharedWithUsers>
  </documentManagement>
</p:properties>
</file>

<file path=customXml/item6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A25A305203BC8478B10DCF7C5523537" ma:contentTypeVersion="15" ma:contentTypeDescription="Opprett et nytt dokument." ma:contentTypeScope="" ma:versionID="f6d64620a03ee78c0b5b2fae6a0af8ee">
  <xsd:schema xmlns:xsd="http://www.w3.org/2001/XMLSchema" xmlns:xs="http://www.w3.org/2001/XMLSchema" xmlns:p="http://schemas.microsoft.com/office/2006/metadata/properties" xmlns:ns2="2893bc37-6a3d-411f-8084-a95ecabd716c" xmlns:ns3="2e151b32-19c9-4a98-870c-787bbe05678b" targetNamespace="http://schemas.microsoft.com/office/2006/metadata/properties" ma:root="true" ma:fieldsID="409ce432aba9ed829bf3a0b5ce33bb06" ns2:_="" ns3:_="">
    <xsd:import namespace="2893bc37-6a3d-411f-8084-a95ecabd716c"/>
    <xsd:import namespace="2e151b32-19c9-4a98-870c-787bbe05678b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3:TaxCatchAll" minOccurs="0"/>
                <xsd:element ref="ns2:MediaServiceMetadata" minOccurs="0"/>
                <xsd:element ref="ns2:MediaServiceFastMetadata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93bc37-6a3d-411f-8084-a95ecabd716c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Bildemerkelapper" ma:readOnly="false" ma:fieldId="{5cf76f15-5ced-4ddc-b409-7134ff3c332f}" ma:taxonomyMulti="true" ma:sspId="428237e0-0d27-4360-ab3a-91f81ee73f1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151b32-19c9-4a98-870c-787bbe05678b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hidden="true" ma:list="{85ad4cb1-3577-4743-8a89-c0d4def3fe22}" ma:internalName="TaxCatchAll" ma:showField="CatchAllData" ma:web="2e151b32-19c9-4a98-870c-787bbe05678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7.xml><?xml version="1.0" encoding="utf-8"?>
<p4ppTags>
  <Name>Four objects + Navigation</Name>
  <PpLayout>32</PpLayout>
  <Index>22</Index>
</p4ppTags>
</file>

<file path=customXml/itemProps1.xml><?xml version="1.0" encoding="utf-8"?>
<ds:datastoreItem xmlns:ds="http://schemas.openxmlformats.org/officeDocument/2006/customXml" ds:itemID="{B9533311-52E0-43ED-A73D-A1669FBAE85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6CBB24C-0520-4CFC-8C58-630B503F8C2A}">
  <ds:schemaRefs/>
</ds:datastoreItem>
</file>

<file path=customXml/itemProps3.xml><?xml version="1.0" encoding="utf-8"?>
<ds:datastoreItem xmlns:ds="http://schemas.openxmlformats.org/officeDocument/2006/customXml" ds:itemID="{EAB520BC-C6EC-457E-8AB5-55DB67C86858}">
  <ds:schemaRefs/>
</ds:datastoreItem>
</file>

<file path=customXml/itemProps4.xml><?xml version="1.0" encoding="utf-8"?>
<ds:datastoreItem xmlns:ds="http://schemas.openxmlformats.org/officeDocument/2006/customXml" ds:itemID="{74E10312-2D4D-4C0B-956F-7DE5B3515B41}">
  <ds:schemaRefs/>
</ds:datastoreItem>
</file>

<file path=customXml/itemProps5.xml><?xml version="1.0" encoding="utf-8"?>
<ds:datastoreItem xmlns:ds="http://schemas.openxmlformats.org/officeDocument/2006/customXml" ds:itemID="{9266C01B-B426-41E6-93C9-720F283AD41E}">
  <ds:schemaRefs>
    <ds:schemaRef ds:uri="http://www.w3.org/XML/1998/namespace"/>
    <ds:schemaRef ds:uri="1d3aac63-977f-4cd9-85ed-dfaae9449211"/>
    <ds:schemaRef ds:uri="http://purl.org/dc/elements/1.1/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purl.org/dc/dcmitype/"/>
    <ds:schemaRef ds:uri="84a7a396-2d64-4af0-9b08-34c999286d67"/>
    <ds:schemaRef ds:uri="http://schemas.microsoft.com/office/infopath/2007/PartnerControls"/>
    <ds:schemaRef ds:uri="f5fd44b8-4f44-493b-8fea-30cf053f4e4d"/>
    <ds:schemaRef ds:uri="http://schemas.microsoft.com/office/2006/metadata/properties"/>
  </ds:schemaRefs>
</ds:datastoreItem>
</file>

<file path=customXml/itemProps6.xml><?xml version="1.0" encoding="utf-8"?>
<ds:datastoreItem xmlns:ds="http://schemas.openxmlformats.org/officeDocument/2006/customXml" ds:itemID="{DA790E07-193E-41E7-927C-A1C29AC7D159}"/>
</file>

<file path=customXml/itemProps7.xml><?xml version="1.0" encoding="utf-8"?>
<ds:datastoreItem xmlns:ds="http://schemas.openxmlformats.org/officeDocument/2006/customXml" ds:itemID="{6B3DF3CC-51AE-4551-9B69-3F5F5A865D0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5</TotalTime>
  <Words>1686</Words>
  <Application>Microsoft Office PowerPoint</Application>
  <PresentationFormat>Widescreen</PresentationFormat>
  <Paragraphs>269</Paragraphs>
  <Slides>17</Slides>
  <Notes>17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5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7</vt:i4>
      </vt:variant>
    </vt:vector>
  </HeadingPairs>
  <TitlesOfParts>
    <vt:vector size="29" baseType="lpstr">
      <vt:lpstr>Arial</vt:lpstr>
      <vt:lpstr>Bierstadt</vt:lpstr>
      <vt:lpstr>Bierstadt Display</vt:lpstr>
      <vt:lpstr>Calibri</vt:lpstr>
      <vt:lpstr>Euphemia</vt:lpstr>
      <vt:lpstr>Times New Roman</vt:lpstr>
      <vt:lpstr>Siemens Energy</vt:lpstr>
      <vt:lpstr>1_Siemens Energy</vt:lpstr>
      <vt:lpstr>2_Siemens Energy</vt:lpstr>
      <vt:lpstr>5_Office-tema</vt:lpstr>
      <vt:lpstr>9_Office-tema</vt:lpstr>
      <vt:lpstr>think-cell Slide</vt:lpstr>
      <vt:lpstr>Topplederens ansvar</vt:lpstr>
      <vt:lpstr>PowerPoint-presentasjon</vt:lpstr>
      <vt:lpstr>Endring i kontekst = endring av risikobildet</vt:lpstr>
      <vt:lpstr>Ansvaret</vt:lpstr>
      <vt:lpstr>Dagen da det verste  kunne skjedd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Bernt Henrik Kommedal</dc:creator>
  <cp:lastModifiedBy>Trond Winther | Lnett</cp:lastModifiedBy>
  <cp:revision>3</cp:revision>
  <cp:lastPrinted>2024-09-23T14:40:39Z</cp:lastPrinted>
  <dcterms:created xsi:type="dcterms:W3CDTF">2021-11-09T11:24:21Z</dcterms:created>
  <dcterms:modified xsi:type="dcterms:W3CDTF">2024-09-24T17:1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RefVisible">
    <vt:bool>true</vt:bool>
  </property>
  <property fmtid="{D5CDD505-2E9C-101B-9397-08002B2CF9AE}" pid="3" name="FooterNum">
    <vt:bool>true</vt:bool>
  </property>
  <property fmtid="{D5CDD505-2E9C-101B-9397-08002B2CF9AE}" pid="4" name="ContentTypeId">
    <vt:lpwstr>0x0101007A25A305203BC8478B10DCF7C5523537</vt:lpwstr>
  </property>
  <property fmtid="{D5CDD505-2E9C-101B-9397-08002B2CF9AE}" pid="5" name="MediaServiceImageTags">
    <vt:lpwstr/>
  </property>
</Properties>
</file>